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2" r:id="rId2"/>
  </p:sldMasterIdLst>
  <p:notesMasterIdLst>
    <p:notesMasterId r:id="rId22"/>
  </p:notesMasterIdLst>
  <p:sldIdLst>
    <p:sldId id="2147483315" r:id="rId3"/>
    <p:sldId id="2147483372" r:id="rId4"/>
    <p:sldId id="2147483409" r:id="rId5"/>
    <p:sldId id="2147483415" r:id="rId6"/>
    <p:sldId id="2147483373" r:id="rId7"/>
    <p:sldId id="2147483401" r:id="rId8"/>
    <p:sldId id="2147483402" r:id="rId9"/>
    <p:sldId id="2147483403" r:id="rId10"/>
    <p:sldId id="2147483404" r:id="rId11"/>
    <p:sldId id="2147483405" r:id="rId12"/>
    <p:sldId id="2147483406" r:id="rId13"/>
    <p:sldId id="2147483407" r:id="rId14"/>
    <p:sldId id="2147483408" r:id="rId15"/>
    <p:sldId id="2147483410" r:id="rId16"/>
    <p:sldId id="2147483412" r:id="rId17"/>
    <p:sldId id="2147483414" r:id="rId18"/>
    <p:sldId id="2147483416" r:id="rId19"/>
    <p:sldId id="2147483417" r:id="rId20"/>
    <p:sldId id="2147478332" r:id="rId21"/>
  </p:sldIdLst>
  <p:sldSz cx="12192000" cy="6858000"/>
  <p:notesSz cx="6797675" cy="9859963"/>
  <p:custDataLst>
    <p:tags r:id="rId23"/>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1FD894EB-04BD-44F9-AF7B-D4BAD248A74A}">
          <p14:sldIdLst>
            <p14:sldId id="2147483315"/>
            <p14:sldId id="2147483372"/>
            <p14:sldId id="2147483409"/>
            <p14:sldId id="2147483415"/>
            <p14:sldId id="2147483373"/>
            <p14:sldId id="2147483401"/>
            <p14:sldId id="2147483402"/>
            <p14:sldId id="2147483403"/>
            <p14:sldId id="2147483404"/>
            <p14:sldId id="2147483405"/>
            <p14:sldId id="2147483406"/>
            <p14:sldId id="2147483407"/>
            <p14:sldId id="2147483408"/>
            <p14:sldId id="2147483410"/>
            <p14:sldId id="2147483412"/>
            <p14:sldId id="2147483414"/>
            <p14:sldId id="2147483416"/>
            <p14:sldId id="2147483417"/>
            <p14:sldId id="2147478332"/>
          </p14:sldIdLst>
        </p14:section>
      </p14:sectionLst>
    </p:ext>
    <p:ext uri="{EFAFB233-063F-42B5-8137-9DF3F51BA10A}">
      <p15:sldGuideLst xmlns:p15="http://schemas.microsoft.com/office/powerpoint/2012/main">
        <p15:guide id="1" orient="horz" pos="3566" userDrawn="1">
          <p15:clr>
            <a:srgbClr val="A4A3A4"/>
          </p15:clr>
        </p15:guide>
        <p15:guide id="5" pos="2933" userDrawn="1">
          <p15:clr>
            <a:srgbClr val="A4A3A4"/>
          </p15:clr>
        </p15:guide>
        <p15:guide id="7" pos="6743" userDrawn="1">
          <p15:clr>
            <a:srgbClr val="A4A3A4"/>
          </p15:clr>
        </p15:guide>
        <p15:guide id="8" orient="horz" pos="595" userDrawn="1">
          <p15:clr>
            <a:srgbClr val="A4A3A4"/>
          </p15:clr>
        </p15:guide>
        <p15:guide id="10" pos="6966" userDrawn="1">
          <p15:clr>
            <a:srgbClr val="A4A3A4"/>
          </p15:clr>
        </p15:guide>
        <p15:guide id="11" orient="horz" pos="890" userDrawn="1">
          <p15:clr>
            <a:srgbClr val="A4A3A4"/>
          </p15:clr>
        </p15:guide>
        <p15:guide id="12" orient="horz" pos="2387" userDrawn="1">
          <p15:clr>
            <a:srgbClr val="A4A3A4"/>
          </p15:clr>
        </p15:guide>
        <p15:guide id="13" orient="horz" pos="3997" userDrawn="1">
          <p15:clr>
            <a:srgbClr val="A4A3A4"/>
          </p15:clr>
        </p15:guide>
        <p15:guide id="14" orient="horz" pos="1820" userDrawn="1">
          <p15:clr>
            <a:srgbClr val="A4A3A4"/>
          </p15:clr>
        </p15:guide>
        <p15:guide id="15" orient="horz" pos="288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A4"/>
    <a:srgbClr val="C00000"/>
    <a:srgbClr val="005471"/>
    <a:srgbClr val="2AA798"/>
    <a:srgbClr val="32C8B6"/>
    <a:srgbClr val="002630"/>
    <a:srgbClr val="E8E8E8"/>
    <a:srgbClr val="009999"/>
    <a:srgbClr val="7F7F7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46BDBC-FFFB-46A0-8E64-975E5FEF44DF}" v="113" dt="2025-06-17T15:59:35.144"/>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93" autoAdjust="0"/>
    <p:restoredTop sz="96283" autoAdjust="0"/>
  </p:normalViewPr>
  <p:slideViewPr>
    <p:cSldViewPr snapToGrid="0" showGuides="1">
      <p:cViewPr varScale="1">
        <p:scale>
          <a:sx n="107" d="100"/>
          <a:sy n="107" d="100"/>
        </p:scale>
        <p:origin x="930" y="102"/>
      </p:cViewPr>
      <p:guideLst>
        <p:guide orient="horz" pos="3566"/>
        <p:guide pos="2933"/>
        <p:guide pos="6743"/>
        <p:guide orient="horz" pos="595"/>
        <p:guide pos="6966"/>
        <p:guide orient="horz" pos="890"/>
        <p:guide orient="horz" pos="2387"/>
        <p:guide orient="horz" pos="3997"/>
        <p:guide orient="horz" pos="1820"/>
        <p:guide orient="horz" pos="2886"/>
      </p:guideLst>
    </p:cSldViewPr>
  </p:slideViewPr>
  <p:notesTextViewPr>
    <p:cViewPr>
      <p:scale>
        <a:sx n="400" d="100"/>
        <a:sy n="4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narriz Herrador Iñaki" userId="11637121-8aee-420b-9db7-54651cb06796" providerId="ADAL" clId="{A5A63F93-E248-43A4-BFE0-94814416B416}"/>
    <pc:docChg chg="undo custSel addSld modSld modSection">
      <pc:chgData name="Munarriz Herrador Iñaki" userId="11637121-8aee-420b-9db7-54651cb06796" providerId="ADAL" clId="{A5A63F93-E248-43A4-BFE0-94814416B416}" dt="2024-06-28T11:30:24.575" v="264" actId="1076"/>
      <pc:docMkLst>
        <pc:docMk/>
      </pc:docMkLst>
      <pc:sldChg chg="addSp delSp modSp add mod">
        <pc:chgData name="Munarriz Herrador Iñaki" userId="11637121-8aee-420b-9db7-54651cb06796" providerId="ADAL" clId="{A5A63F93-E248-43A4-BFE0-94814416B416}" dt="2024-06-28T11:30:24.575" v="264" actId="1076"/>
        <pc:sldMkLst>
          <pc:docMk/>
          <pc:sldMk cId="3749504679" sldId="2147483318"/>
        </pc:sldMkLst>
      </pc:sldChg>
    </pc:docChg>
  </pc:docChgLst>
  <pc:docChgLst>
    <pc:chgData name="Munarriz Herrador Iñaki" userId="11637121-8aee-420b-9db7-54651cb06796" providerId="ADAL" clId="{40696C48-91B3-44FD-BACC-CB4D5CD22FD1}"/>
    <pc:docChg chg="undo custSel addSld delSld modSld modSection">
      <pc:chgData name="Munarriz Herrador Iñaki" userId="11637121-8aee-420b-9db7-54651cb06796" providerId="ADAL" clId="{40696C48-91B3-44FD-BACC-CB4D5CD22FD1}" dt="2024-06-05T14:36:47.320" v="3083" actId="14100"/>
      <pc:docMkLst>
        <pc:docMk/>
      </pc:docMkLst>
      <pc:sldChg chg="del">
        <pc:chgData name="Munarriz Herrador Iñaki" userId="11637121-8aee-420b-9db7-54651cb06796" providerId="ADAL" clId="{40696C48-91B3-44FD-BACC-CB4D5CD22FD1}" dt="2024-05-20T16:41:50.457" v="529" actId="47"/>
        <pc:sldMkLst>
          <pc:docMk/>
          <pc:sldMk cId="1754681115" sldId="435"/>
        </pc:sldMkLst>
      </pc:sldChg>
      <pc:sldChg chg="del">
        <pc:chgData name="Munarriz Herrador Iñaki" userId="11637121-8aee-420b-9db7-54651cb06796" providerId="ADAL" clId="{40696C48-91B3-44FD-BACC-CB4D5CD22FD1}" dt="2024-05-20T08:04:12.559" v="0" actId="47"/>
        <pc:sldMkLst>
          <pc:docMk/>
          <pc:sldMk cId="2097821841" sldId="459"/>
        </pc:sldMkLst>
      </pc:sldChg>
      <pc:sldChg chg="del">
        <pc:chgData name="Munarriz Herrador Iñaki" userId="11637121-8aee-420b-9db7-54651cb06796" providerId="ADAL" clId="{40696C48-91B3-44FD-BACC-CB4D5CD22FD1}" dt="2024-05-20T16:41:49.701" v="528" actId="47"/>
        <pc:sldMkLst>
          <pc:docMk/>
          <pc:sldMk cId="2722343528" sldId="480"/>
        </pc:sldMkLst>
      </pc:sldChg>
      <pc:sldChg chg="del">
        <pc:chgData name="Munarriz Herrador Iñaki" userId="11637121-8aee-420b-9db7-54651cb06796" providerId="ADAL" clId="{40696C48-91B3-44FD-BACC-CB4D5CD22FD1}" dt="2024-05-20T08:04:12.559" v="0" actId="47"/>
        <pc:sldMkLst>
          <pc:docMk/>
          <pc:sldMk cId="2933988909" sldId="490"/>
        </pc:sldMkLst>
      </pc:sldChg>
      <pc:sldChg chg="del">
        <pc:chgData name="Munarriz Herrador Iñaki" userId="11637121-8aee-420b-9db7-54651cb06796" providerId="ADAL" clId="{40696C48-91B3-44FD-BACC-CB4D5CD22FD1}" dt="2024-05-20T08:04:12.559" v="0" actId="47"/>
        <pc:sldMkLst>
          <pc:docMk/>
          <pc:sldMk cId="1586747582" sldId="495"/>
        </pc:sldMkLst>
      </pc:sldChg>
      <pc:sldChg chg="del">
        <pc:chgData name="Munarriz Herrador Iñaki" userId="11637121-8aee-420b-9db7-54651cb06796" providerId="ADAL" clId="{40696C48-91B3-44FD-BACC-CB4D5CD22FD1}" dt="2024-05-20T08:04:21.274" v="1" actId="47"/>
        <pc:sldMkLst>
          <pc:docMk/>
          <pc:sldMk cId="1434126347" sldId="497"/>
        </pc:sldMkLst>
      </pc:sldChg>
      <pc:sldChg chg="del">
        <pc:chgData name="Munarriz Herrador Iñaki" userId="11637121-8aee-420b-9db7-54651cb06796" providerId="ADAL" clId="{40696C48-91B3-44FD-BACC-CB4D5CD22FD1}" dt="2024-05-20T08:04:21.274" v="1" actId="47"/>
        <pc:sldMkLst>
          <pc:docMk/>
          <pc:sldMk cId="2529774298" sldId="498"/>
        </pc:sldMkLst>
      </pc:sldChg>
      <pc:sldChg chg="del">
        <pc:chgData name="Munarriz Herrador Iñaki" userId="11637121-8aee-420b-9db7-54651cb06796" providerId="ADAL" clId="{40696C48-91B3-44FD-BACC-CB4D5CD22FD1}" dt="2024-05-20T08:04:21.274" v="1" actId="47"/>
        <pc:sldMkLst>
          <pc:docMk/>
          <pc:sldMk cId="2048187816" sldId="500"/>
        </pc:sldMkLst>
      </pc:sldChg>
      <pc:sldChg chg="modSp add del mod">
        <pc:chgData name="Munarriz Herrador Iñaki" userId="11637121-8aee-420b-9db7-54651cb06796" providerId="ADAL" clId="{40696C48-91B3-44FD-BACC-CB4D5CD22FD1}" dt="2024-05-21T07:38:48.657" v="1110" actId="14100"/>
        <pc:sldMkLst>
          <pc:docMk/>
          <pc:sldMk cId="1616658181" sldId="806"/>
        </pc:sldMkLst>
      </pc:sldChg>
      <pc:sldChg chg="del">
        <pc:chgData name="Munarriz Herrador Iñaki" userId="11637121-8aee-420b-9db7-54651cb06796" providerId="ADAL" clId="{40696C48-91B3-44FD-BACC-CB4D5CD22FD1}" dt="2024-05-20T08:04:21.274" v="1" actId="47"/>
        <pc:sldMkLst>
          <pc:docMk/>
          <pc:sldMk cId="1656780474" sldId="807"/>
        </pc:sldMkLst>
      </pc:sldChg>
      <pc:sldChg chg="del">
        <pc:chgData name="Munarriz Herrador Iñaki" userId="11637121-8aee-420b-9db7-54651cb06796" providerId="ADAL" clId="{40696C48-91B3-44FD-BACC-CB4D5CD22FD1}" dt="2024-05-20T08:04:21.274" v="1" actId="47"/>
        <pc:sldMkLst>
          <pc:docMk/>
          <pc:sldMk cId="1900307273" sldId="808"/>
        </pc:sldMkLst>
      </pc:sldChg>
      <pc:sldChg chg="del">
        <pc:chgData name="Munarriz Herrador Iñaki" userId="11637121-8aee-420b-9db7-54651cb06796" providerId="ADAL" clId="{40696C48-91B3-44FD-BACC-CB4D5CD22FD1}" dt="2024-05-20T08:04:21.274" v="1" actId="47"/>
        <pc:sldMkLst>
          <pc:docMk/>
          <pc:sldMk cId="3015382304" sldId="809"/>
        </pc:sldMkLst>
      </pc:sldChg>
      <pc:sldChg chg="del">
        <pc:chgData name="Munarriz Herrador Iñaki" userId="11637121-8aee-420b-9db7-54651cb06796" providerId="ADAL" clId="{40696C48-91B3-44FD-BACC-CB4D5CD22FD1}" dt="2024-05-20T08:04:21.274" v="1" actId="47"/>
        <pc:sldMkLst>
          <pc:docMk/>
          <pc:sldMk cId="2263641396" sldId="810"/>
        </pc:sldMkLst>
      </pc:sldChg>
      <pc:sldChg chg="del">
        <pc:chgData name="Munarriz Herrador Iñaki" userId="11637121-8aee-420b-9db7-54651cb06796" providerId="ADAL" clId="{40696C48-91B3-44FD-BACC-CB4D5CD22FD1}" dt="2024-05-20T08:04:21.274" v="1" actId="47"/>
        <pc:sldMkLst>
          <pc:docMk/>
          <pc:sldMk cId="802874699" sldId="811"/>
        </pc:sldMkLst>
      </pc:sldChg>
      <pc:sldChg chg="del">
        <pc:chgData name="Munarriz Herrador Iñaki" userId="11637121-8aee-420b-9db7-54651cb06796" providerId="ADAL" clId="{40696C48-91B3-44FD-BACC-CB4D5CD22FD1}" dt="2024-05-20T08:04:21.274" v="1" actId="47"/>
        <pc:sldMkLst>
          <pc:docMk/>
          <pc:sldMk cId="1005477179" sldId="812"/>
        </pc:sldMkLst>
      </pc:sldChg>
      <pc:sldChg chg="del">
        <pc:chgData name="Munarriz Herrador Iñaki" userId="11637121-8aee-420b-9db7-54651cb06796" providerId="ADAL" clId="{40696C48-91B3-44FD-BACC-CB4D5CD22FD1}" dt="2024-05-20T08:04:21.274" v="1" actId="47"/>
        <pc:sldMkLst>
          <pc:docMk/>
          <pc:sldMk cId="1462443189" sldId="813"/>
        </pc:sldMkLst>
      </pc:sldChg>
      <pc:sldChg chg="del">
        <pc:chgData name="Munarriz Herrador Iñaki" userId="11637121-8aee-420b-9db7-54651cb06796" providerId="ADAL" clId="{40696C48-91B3-44FD-BACC-CB4D5CD22FD1}" dt="2024-05-20T08:04:21.274" v="1" actId="47"/>
        <pc:sldMkLst>
          <pc:docMk/>
          <pc:sldMk cId="874219090" sldId="814"/>
        </pc:sldMkLst>
      </pc:sldChg>
      <pc:sldChg chg="del">
        <pc:chgData name="Munarriz Herrador Iñaki" userId="11637121-8aee-420b-9db7-54651cb06796" providerId="ADAL" clId="{40696C48-91B3-44FD-BACC-CB4D5CD22FD1}" dt="2024-05-20T08:04:21.274" v="1" actId="47"/>
        <pc:sldMkLst>
          <pc:docMk/>
          <pc:sldMk cId="1292986524" sldId="815"/>
        </pc:sldMkLst>
      </pc:sldChg>
      <pc:sldChg chg="del">
        <pc:chgData name="Munarriz Herrador Iñaki" userId="11637121-8aee-420b-9db7-54651cb06796" providerId="ADAL" clId="{40696C48-91B3-44FD-BACC-CB4D5CD22FD1}" dt="2024-05-20T08:04:21.274" v="1" actId="47"/>
        <pc:sldMkLst>
          <pc:docMk/>
          <pc:sldMk cId="3344288659" sldId="816"/>
        </pc:sldMkLst>
      </pc:sldChg>
      <pc:sldChg chg="del">
        <pc:chgData name="Munarriz Herrador Iñaki" userId="11637121-8aee-420b-9db7-54651cb06796" providerId="ADAL" clId="{40696C48-91B3-44FD-BACC-CB4D5CD22FD1}" dt="2024-05-20T08:04:21.274" v="1" actId="47"/>
        <pc:sldMkLst>
          <pc:docMk/>
          <pc:sldMk cId="271431928" sldId="817"/>
        </pc:sldMkLst>
      </pc:sldChg>
      <pc:sldChg chg="del">
        <pc:chgData name="Munarriz Herrador Iñaki" userId="11637121-8aee-420b-9db7-54651cb06796" providerId="ADAL" clId="{40696C48-91B3-44FD-BACC-CB4D5CD22FD1}" dt="2024-05-20T08:04:21.274" v="1" actId="47"/>
        <pc:sldMkLst>
          <pc:docMk/>
          <pc:sldMk cId="1685783883" sldId="823"/>
        </pc:sldMkLst>
      </pc:sldChg>
      <pc:sldChg chg="del">
        <pc:chgData name="Munarriz Herrador Iñaki" userId="11637121-8aee-420b-9db7-54651cb06796" providerId="ADAL" clId="{40696C48-91B3-44FD-BACC-CB4D5CD22FD1}" dt="2024-05-20T08:04:21.274" v="1" actId="47"/>
        <pc:sldMkLst>
          <pc:docMk/>
          <pc:sldMk cId="1903546216" sldId="824"/>
        </pc:sldMkLst>
      </pc:sldChg>
      <pc:sldChg chg="del">
        <pc:chgData name="Munarriz Herrador Iñaki" userId="11637121-8aee-420b-9db7-54651cb06796" providerId="ADAL" clId="{40696C48-91B3-44FD-BACC-CB4D5CD22FD1}" dt="2024-05-20T08:04:12.559" v="0" actId="47"/>
        <pc:sldMkLst>
          <pc:docMk/>
          <pc:sldMk cId="648639592" sldId="825"/>
        </pc:sldMkLst>
      </pc:sldChg>
      <pc:sldChg chg="del">
        <pc:chgData name="Munarriz Herrador Iñaki" userId="11637121-8aee-420b-9db7-54651cb06796" providerId="ADAL" clId="{40696C48-91B3-44FD-BACC-CB4D5CD22FD1}" dt="2024-05-20T08:04:21.274" v="1" actId="47"/>
        <pc:sldMkLst>
          <pc:docMk/>
          <pc:sldMk cId="2715031666" sldId="826"/>
        </pc:sldMkLst>
      </pc:sldChg>
      <pc:sldChg chg="addSp delSp modSp mod">
        <pc:chgData name="Munarriz Herrador Iñaki" userId="11637121-8aee-420b-9db7-54651cb06796" providerId="ADAL" clId="{40696C48-91B3-44FD-BACC-CB4D5CD22FD1}" dt="2024-05-21T08:26:18.265" v="1733" actId="1035"/>
        <pc:sldMkLst>
          <pc:docMk/>
          <pc:sldMk cId="128532313" sldId="827"/>
        </pc:sldMkLst>
      </pc:sldChg>
      <pc:sldChg chg="addSp delSp modSp add mod">
        <pc:chgData name="Munarriz Herrador Iñaki" userId="11637121-8aee-420b-9db7-54651cb06796" providerId="ADAL" clId="{40696C48-91B3-44FD-BACC-CB4D5CD22FD1}" dt="2024-05-20T17:19:50.365" v="628" actId="478"/>
        <pc:sldMkLst>
          <pc:docMk/>
          <pc:sldMk cId="3904767837" sldId="828"/>
        </pc:sldMkLst>
      </pc:sldChg>
      <pc:sldChg chg="addSp delSp modSp add mod">
        <pc:chgData name="Munarriz Herrador Iñaki" userId="11637121-8aee-420b-9db7-54651cb06796" providerId="ADAL" clId="{40696C48-91B3-44FD-BACC-CB4D5CD22FD1}" dt="2024-05-21T08:32:10.217" v="1883" actId="20577"/>
        <pc:sldMkLst>
          <pc:docMk/>
          <pc:sldMk cId="1054402032" sldId="829"/>
        </pc:sldMkLst>
      </pc:sldChg>
      <pc:sldChg chg="delSp modSp add mod">
        <pc:chgData name="Munarriz Herrador Iñaki" userId="11637121-8aee-420b-9db7-54651cb06796" providerId="ADAL" clId="{40696C48-91B3-44FD-BACC-CB4D5CD22FD1}" dt="2024-05-20T18:08:47.991" v="1079" actId="948"/>
        <pc:sldMkLst>
          <pc:docMk/>
          <pc:sldMk cId="3474182341" sldId="830"/>
        </pc:sldMkLst>
      </pc:sldChg>
      <pc:sldChg chg="add">
        <pc:chgData name="Munarriz Herrador Iñaki" userId="11637121-8aee-420b-9db7-54651cb06796" providerId="ADAL" clId="{40696C48-91B3-44FD-BACC-CB4D5CD22FD1}" dt="2024-05-21T07:43:27.262" v="1128"/>
        <pc:sldMkLst>
          <pc:docMk/>
          <pc:sldMk cId="3682512932" sldId="2147478332"/>
        </pc:sldMkLst>
      </pc:sldChg>
      <pc:sldChg chg="modSp add mod">
        <pc:chgData name="Munarriz Herrador Iñaki" userId="11637121-8aee-420b-9db7-54651cb06796" providerId="ADAL" clId="{40696C48-91B3-44FD-BACC-CB4D5CD22FD1}" dt="2024-05-21T07:43:01.889" v="1127" actId="20577"/>
        <pc:sldMkLst>
          <pc:docMk/>
          <pc:sldMk cId="0" sldId="2147483315"/>
        </pc:sldMkLst>
      </pc:sldChg>
      <pc:sldChg chg="addSp delSp modSp add mod">
        <pc:chgData name="Munarriz Herrador Iñaki" userId="11637121-8aee-420b-9db7-54651cb06796" providerId="ADAL" clId="{40696C48-91B3-44FD-BACC-CB4D5CD22FD1}" dt="2024-06-05T14:36:47.320" v="3083" actId="14100"/>
        <pc:sldMkLst>
          <pc:docMk/>
          <pc:sldMk cId="837960401" sldId="2147483316"/>
        </pc:sldMkLst>
      </pc:sldChg>
      <pc:sldChg chg="addSp modSp add mod">
        <pc:chgData name="Munarriz Herrador Iñaki" userId="11637121-8aee-420b-9db7-54651cb06796" providerId="ADAL" clId="{40696C48-91B3-44FD-BACC-CB4D5CD22FD1}" dt="2024-06-05T11:45:50.484" v="1887" actId="1076"/>
        <pc:sldMkLst>
          <pc:docMk/>
          <pc:sldMk cId="402773593" sldId="2147483317"/>
        </pc:sldMkLst>
      </pc:sldChg>
      <pc:sldMasterChg chg="delSldLayout">
        <pc:chgData name="Munarriz Herrador Iñaki" userId="11637121-8aee-420b-9db7-54651cb06796" providerId="ADAL" clId="{40696C48-91B3-44FD-BACC-CB4D5CD22FD1}" dt="2024-05-20T08:04:21.274" v="1" actId="47"/>
        <pc:sldMasterMkLst>
          <pc:docMk/>
          <pc:sldMasterMk cId="3682351262" sldId="2147483732"/>
        </pc:sldMasterMkLst>
        <pc:sldLayoutChg chg="del">
          <pc:chgData name="Munarriz Herrador Iñaki" userId="11637121-8aee-420b-9db7-54651cb06796" providerId="ADAL" clId="{40696C48-91B3-44FD-BACC-CB4D5CD22FD1}" dt="2024-05-20T08:04:12.559" v="0" actId="47"/>
          <pc:sldLayoutMkLst>
            <pc:docMk/>
            <pc:sldMasterMk cId="3682351262" sldId="2147483732"/>
            <pc:sldLayoutMk cId="2229808591" sldId="2147483882"/>
          </pc:sldLayoutMkLst>
        </pc:sldLayoutChg>
        <pc:sldLayoutChg chg="del">
          <pc:chgData name="Munarriz Herrador Iñaki" userId="11637121-8aee-420b-9db7-54651cb06796" providerId="ADAL" clId="{40696C48-91B3-44FD-BACC-CB4D5CD22FD1}" dt="2024-05-20T08:04:21.274" v="1" actId="47"/>
          <pc:sldLayoutMkLst>
            <pc:docMk/>
            <pc:sldMasterMk cId="3682351262" sldId="2147483732"/>
            <pc:sldLayoutMk cId="3799599943" sldId="2147483883"/>
          </pc:sldLayoutMkLst>
        </pc:sldLayoutChg>
        <pc:sldLayoutChg chg="del">
          <pc:chgData name="Munarriz Herrador Iñaki" userId="11637121-8aee-420b-9db7-54651cb06796" providerId="ADAL" clId="{40696C48-91B3-44FD-BACC-CB4D5CD22FD1}" dt="2024-05-20T08:04:12.559" v="0" actId="47"/>
          <pc:sldLayoutMkLst>
            <pc:docMk/>
            <pc:sldMasterMk cId="3682351262" sldId="2147483732"/>
            <pc:sldLayoutMk cId="3704372388" sldId="2147483884"/>
          </pc:sldLayoutMkLst>
        </pc:sldLayoutChg>
      </pc:sldMasterChg>
    </pc:docChg>
  </pc:docChgLst>
  <pc:docChgLst>
    <pc:chgData name="Munarriz Herrador Iñaki" userId="11637121-8aee-420b-9db7-54651cb06796" providerId="ADAL" clId="{2C3D0F59-EDFA-4449-90D5-79281DD6DAB5}"/>
    <pc:docChg chg="undo custSel addSld delSld modSld sldOrd modSection">
      <pc:chgData name="Munarriz Herrador Iñaki" userId="11637121-8aee-420b-9db7-54651cb06796" providerId="ADAL" clId="{2C3D0F59-EDFA-4449-90D5-79281DD6DAB5}" dt="2025-01-27T16:09:21.311" v="5151" actId="1076"/>
      <pc:docMkLst>
        <pc:docMk/>
      </pc:docMkLst>
      <pc:sldChg chg="del">
        <pc:chgData name="Munarriz Herrador Iñaki" userId="11637121-8aee-420b-9db7-54651cb06796" providerId="ADAL" clId="{2C3D0F59-EDFA-4449-90D5-79281DD6DAB5}" dt="2025-01-24T12:34:43.372" v="4172" actId="47"/>
        <pc:sldMkLst>
          <pc:docMk/>
          <pc:sldMk cId="1616658181" sldId="806"/>
        </pc:sldMkLst>
      </pc:sldChg>
      <pc:sldChg chg="del">
        <pc:chgData name="Munarriz Herrador Iñaki" userId="11637121-8aee-420b-9db7-54651cb06796" providerId="ADAL" clId="{2C3D0F59-EDFA-4449-90D5-79281DD6DAB5}" dt="2025-01-24T12:34:43.372" v="4172" actId="47"/>
        <pc:sldMkLst>
          <pc:docMk/>
          <pc:sldMk cId="128532313" sldId="827"/>
        </pc:sldMkLst>
      </pc:sldChg>
      <pc:sldChg chg="del">
        <pc:chgData name="Munarriz Herrador Iñaki" userId="11637121-8aee-420b-9db7-54651cb06796" providerId="ADAL" clId="{2C3D0F59-EDFA-4449-90D5-79281DD6DAB5}" dt="2025-01-24T12:34:43.372" v="4172" actId="47"/>
        <pc:sldMkLst>
          <pc:docMk/>
          <pc:sldMk cId="3904767837" sldId="828"/>
        </pc:sldMkLst>
      </pc:sldChg>
      <pc:sldChg chg="del">
        <pc:chgData name="Munarriz Herrador Iñaki" userId="11637121-8aee-420b-9db7-54651cb06796" providerId="ADAL" clId="{2C3D0F59-EDFA-4449-90D5-79281DD6DAB5}" dt="2025-01-24T12:34:43.372" v="4172" actId="47"/>
        <pc:sldMkLst>
          <pc:docMk/>
          <pc:sldMk cId="1054402032" sldId="829"/>
        </pc:sldMkLst>
      </pc:sldChg>
      <pc:sldChg chg="del">
        <pc:chgData name="Munarriz Herrador Iñaki" userId="11637121-8aee-420b-9db7-54651cb06796" providerId="ADAL" clId="{2C3D0F59-EDFA-4449-90D5-79281DD6DAB5}" dt="2025-01-24T12:34:43.372" v="4172" actId="47"/>
        <pc:sldMkLst>
          <pc:docMk/>
          <pc:sldMk cId="3474182341" sldId="830"/>
        </pc:sldMkLst>
      </pc:sldChg>
      <pc:sldChg chg="modSp mod">
        <pc:chgData name="Munarriz Herrador Iñaki" userId="11637121-8aee-420b-9db7-54651cb06796" providerId="ADAL" clId="{2C3D0F59-EDFA-4449-90D5-79281DD6DAB5}" dt="2025-01-23T16:08:53.805" v="1171" actId="20577"/>
        <pc:sldMkLst>
          <pc:docMk/>
          <pc:sldMk cId="0" sldId="2147483315"/>
        </pc:sldMkLst>
      </pc:sldChg>
      <pc:sldChg chg="del">
        <pc:chgData name="Munarriz Herrador Iñaki" userId="11637121-8aee-420b-9db7-54651cb06796" providerId="ADAL" clId="{2C3D0F59-EDFA-4449-90D5-79281DD6DAB5}" dt="2025-01-24T12:34:43.372" v="4172" actId="47"/>
        <pc:sldMkLst>
          <pc:docMk/>
          <pc:sldMk cId="837960401" sldId="2147483316"/>
        </pc:sldMkLst>
      </pc:sldChg>
      <pc:sldChg chg="del">
        <pc:chgData name="Munarriz Herrador Iñaki" userId="11637121-8aee-420b-9db7-54651cb06796" providerId="ADAL" clId="{2C3D0F59-EDFA-4449-90D5-79281DD6DAB5}" dt="2025-01-24T12:34:43.372" v="4172" actId="47"/>
        <pc:sldMkLst>
          <pc:docMk/>
          <pc:sldMk cId="402773593" sldId="2147483317"/>
        </pc:sldMkLst>
      </pc:sldChg>
      <pc:sldChg chg="del">
        <pc:chgData name="Munarriz Herrador Iñaki" userId="11637121-8aee-420b-9db7-54651cb06796" providerId="ADAL" clId="{2C3D0F59-EDFA-4449-90D5-79281DD6DAB5}" dt="2025-01-24T12:34:43.372" v="4172" actId="47"/>
        <pc:sldMkLst>
          <pc:docMk/>
          <pc:sldMk cId="3749504679" sldId="2147483318"/>
        </pc:sldMkLst>
      </pc:sldChg>
      <pc:sldChg chg="modSp add del mod">
        <pc:chgData name="Munarriz Herrador Iñaki" userId="11637121-8aee-420b-9db7-54651cb06796" providerId="ADAL" clId="{2C3D0F59-EDFA-4449-90D5-79281DD6DAB5}" dt="2025-01-23T15:43:06.260" v="393" actId="47"/>
        <pc:sldMkLst>
          <pc:docMk/>
          <pc:sldMk cId="548997039" sldId="2147483371"/>
        </pc:sldMkLst>
      </pc:sldChg>
      <pc:sldChg chg="addSp delSp modSp add mod">
        <pc:chgData name="Munarriz Herrador Iñaki" userId="11637121-8aee-420b-9db7-54651cb06796" providerId="ADAL" clId="{2C3D0F59-EDFA-4449-90D5-79281DD6DAB5}" dt="2025-01-24T12:25:53.088" v="4071" actId="20577"/>
        <pc:sldMkLst>
          <pc:docMk/>
          <pc:sldMk cId="88093545" sldId="2147483372"/>
        </pc:sldMkLst>
      </pc:sldChg>
      <pc:sldChg chg="addSp delSp modSp add mod ord">
        <pc:chgData name="Munarriz Herrador Iñaki" userId="11637121-8aee-420b-9db7-54651cb06796" providerId="ADAL" clId="{2C3D0F59-EDFA-4449-90D5-79281DD6DAB5}" dt="2025-01-24T13:14:45.156" v="4213" actId="113"/>
        <pc:sldMkLst>
          <pc:docMk/>
          <pc:sldMk cId="1243781170" sldId="2147483373"/>
        </pc:sldMkLst>
      </pc:sldChg>
      <pc:sldChg chg="new del">
        <pc:chgData name="Munarriz Herrador Iñaki" userId="11637121-8aee-420b-9db7-54651cb06796" providerId="ADAL" clId="{2C3D0F59-EDFA-4449-90D5-79281DD6DAB5}" dt="2025-01-23T15:36:40.221" v="285" actId="47"/>
        <pc:sldMkLst>
          <pc:docMk/>
          <pc:sldMk cId="1270524578" sldId="2147483373"/>
        </pc:sldMkLst>
      </pc:sldChg>
      <pc:sldChg chg="addSp delSp modSp add mod setBg">
        <pc:chgData name="Munarriz Herrador Iñaki" userId="11637121-8aee-420b-9db7-54651cb06796" providerId="ADAL" clId="{2C3D0F59-EDFA-4449-90D5-79281DD6DAB5}" dt="2025-01-27T08:15:27.464" v="4360" actId="1076"/>
        <pc:sldMkLst>
          <pc:docMk/>
          <pc:sldMk cId="3267060004" sldId="2147483374"/>
        </pc:sldMkLst>
      </pc:sldChg>
      <pc:sldChg chg="addSp delSp modSp add mod">
        <pc:chgData name="Munarriz Herrador Iñaki" userId="11637121-8aee-420b-9db7-54651cb06796" providerId="ADAL" clId="{2C3D0F59-EDFA-4449-90D5-79281DD6DAB5}" dt="2025-01-24T11:12:21.600" v="3175" actId="14100"/>
        <pc:sldMkLst>
          <pc:docMk/>
          <pc:sldMk cId="61861682" sldId="2147483375"/>
        </pc:sldMkLst>
      </pc:sldChg>
      <pc:sldChg chg="addSp modSp add del mod">
        <pc:chgData name="Munarriz Herrador Iñaki" userId="11637121-8aee-420b-9db7-54651cb06796" providerId="ADAL" clId="{2C3D0F59-EDFA-4449-90D5-79281DD6DAB5}" dt="2025-01-24T12:05:01.666" v="3805" actId="47"/>
        <pc:sldMkLst>
          <pc:docMk/>
          <pc:sldMk cId="1239163435" sldId="2147483376"/>
        </pc:sldMkLst>
      </pc:sldChg>
      <pc:sldChg chg="addSp modSp add del mod">
        <pc:chgData name="Munarriz Herrador Iñaki" userId="11637121-8aee-420b-9db7-54651cb06796" providerId="ADAL" clId="{2C3D0F59-EDFA-4449-90D5-79281DD6DAB5}" dt="2025-01-24T12:26:12.179" v="4072" actId="47"/>
        <pc:sldMkLst>
          <pc:docMk/>
          <pc:sldMk cId="3161292302" sldId="2147483377"/>
        </pc:sldMkLst>
      </pc:sldChg>
      <pc:sldChg chg="addSp modSp add mod">
        <pc:chgData name="Munarriz Herrador Iñaki" userId="11637121-8aee-420b-9db7-54651cb06796" providerId="ADAL" clId="{2C3D0F59-EDFA-4449-90D5-79281DD6DAB5}" dt="2025-01-27T11:32:34.245" v="4838" actId="20577"/>
        <pc:sldMkLst>
          <pc:docMk/>
          <pc:sldMk cId="3116799561" sldId="2147483378"/>
        </pc:sldMkLst>
      </pc:sldChg>
      <pc:sldChg chg="addSp delSp modSp add mod">
        <pc:chgData name="Munarriz Herrador Iñaki" userId="11637121-8aee-420b-9db7-54651cb06796" providerId="ADAL" clId="{2C3D0F59-EDFA-4449-90D5-79281DD6DAB5}" dt="2025-01-24T13:13:41.478" v="4205" actId="113"/>
        <pc:sldMkLst>
          <pc:docMk/>
          <pc:sldMk cId="2818866366" sldId="2147483379"/>
        </pc:sldMkLst>
      </pc:sldChg>
      <pc:sldChg chg="addSp delSp modSp add mod">
        <pc:chgData name="Munarriz Herrador Iñaki" userId="11637121-8aee-420b-9db7-54651cb06796" providerId="ADAL" clId="{2C3D0F59-EDFA-4449-90D5-79281DD6DAB5}" dt="2025-01-24T13:30:37.129" v="4289" actId="20577"/>
        <pc:sldMkLst>
          <pc:docMk/>
          <pc:sldMk cId="2837213026" sldId="2147483380"/>
        </pc:sldMkLst>
      </pc:sldChg>
      <pc:sldChg chg="addSp delSp modSp add del mod">
        <pc:chgData name="Munarriz Herrador Iñaki" userId="11637121-8aee-420b-9db7-54651cb06796" providerId="ADAL" clId="{2C3D0F59-EDFA-4449-90D5-79281DD6DAB5}" dt="2025-01-24T12:05:00.683" v="3804" actId="47"/>
        <pc:sldMkLst>
          <pc:docMk/>
          <pc:sldMk cId="2583614594" sldId="2147483381"/>
        </pc:sldMkLst>
      </pc:sldChg>
      <pc:sldChg chg="addSp delSp modSp add del mod">
        <pc:chgData name="Munarriz Herrador Iñaki" userId="11637121-8aee-420b-9db7-54651cb06796" providerId="ADAL" clId="{2C3D0F59-EDFA-4449-90D5-79281DD6DAB5}" dt="2025-01-24T09:26:06.545" v="2976" actId="47"/>
        <pc:sldMkLst>
          <pc:docMk/>
          <pc:sldMk cId="2527052421" sldId="2147483382"/>
        </pc:sldMkLst>
      </pc:sldChg>
      <pc:sldChg chg="addSp delSp modSp add del mod">
        <pc:chgData name="Munarriz Herrador Iñaki" userId="11637121-8aee-420b-9db7-54651cb06796" providerId="ADAL" clId="{2C3D0F59-EDFA-4449-90D5-79281DD6DAB5}" dt="2025-01-24T09:26:02.470" v="2975" actId="47"/>
        <pc:sldMkLst>
          <pc:docMk/>
          <pc:sldMk cId="4122967616" sldId="2147483383"/>
        </pc:sldMkLst>
      </pc:sldChg>
      <pc:sldChg chg="addSp delSp modSp add mod">
        <pc:chgData name="Munarriz Herrador Iñaki" userId="11637121-8aee-420b-9db7-54651cb06796" providerId="ADAL" clId="{2C3D0F59-EDFA-4449-90D5-79281DD6DAB5}" dt="2025-01-27T11:30:24.482" v="4723" actId="20577"/>
        <pc:sldMkLst>
          <pc:docMk/>
          <pc:sldMk cId="2100245951" sldId="2147483384"/>
        </pc:sldMkLst>
      </pc:sldChg>
      <pc:sldChg chg="addSp modSp add del mod">
        <pc:chgData name="Munarriz Herrador Iñaki" userId="11637121-8aee-420b-9db7-54651cb06796" providerId="ADAL" clId="{2C3D0F59-EDFA-4449-90D5-79281DD6DAB5}" dt="2025-01-27T12:14:43.207" v="5128" actId="47"/>
        <pc:sldMkLst>
          <pc:docMk/>
          <pc:sldMk cId="1402537860" sldId="2147483385"/>
        </pc:sldMkLst>
      </pc:sldChg>
      <pc:sldChg chg="addSp delSp modSp add mod ord">
        <pc:chgData name="Munarriz Herrador Iñaki" userId="11637121-8aee-420b-9db7-54651cb06796" providerId="ADAL" clId="{2C3D0F59-EDFA-4449-90D5-79281DD6DAB5}" dt="2025-01-27T12:14:51.140" v="5129" actId="14100"/>
        <pc:sldMkLst>
          <pc:docMk/>
          <pc:sldMk cId="2201393827" sldId="2147483386"/>
        </pc:sldMkLst>
      </pc:sldChg>
      <pc:sldChg chg="addSp delSp modSp add mod">
        <pc:chgData name="Munarriz Herrador Iñaki" userId="11637121-8aee-420b-9db7-54651cb06796" providerId="ADAL" clId="{2C3D0F59-EDFA-4449-90D5-79281DD6DAB5}" dt="2025-01-27T16:09:21.311" v="5151" actId="1076"/>
        <pc:sldMkLst>
          <pc:docMk/>
          <pc:sldMk cId="1177571145" sldId="2147483387"/>
        </pc:sldMkLst>
      </pc:sldChg>
    </pc:docChg>
  </pc:docChgLst>
  <pc:docChgLst>
    <pc:chgData name="Munarriz Herrador Iñaki" userId="11637121-8aee-420b-9db7-54651cb06796" providerId="ADAL" clId="{028FF6F6-5B42-4493-A926-90FAA58B796E}"/>
    <pc:docChg chg="undo redo custSel addSld delSld modSld sldOrd modSection">
      <pc:chgData name="Munarriz Herrador Iñaki" userId="11637121-8aee-420b-9db7-54651cb06796" providerId="ADAL" clId="{028FF6F6-5B42-4493-A926-90FAA58B796E}" dt="2025-03-20T14:51:52.641" v="3792"/>
      <pc:docMkLst>
        <pc:docMk/>
      </pc:docMkLst>
      <pc:sldChg chg="modSp mod">
        <pc:chgData name="Munarriz Herrador Iñaki" userId="11637121-8aee-420b-9db7-54651cb06796" providerId="ADAL" clId="{028FF6F6-5B42-4493-A926-90FAA58B796E}" dt="2025-03-19T17:00:12.720" v="35" actId="20577"/>
        <pc:sldMkLst>
          <pc:docMk/>
          <pc:sldMk cId="0" sldId="2147483315"/>
        </pc:sldMkLst>
      </pc:sldChg>
      <pc:sldChg chg="modSp add mod">
        <pc:chgData name="Munarriz Herrador Iñaki" userId="11637121-8aee-420b-9db7-54651cb06796" providerId="ADAL" clId="{028FF6F6-5B42-4493-A926-90FAA58B796E}" dt="2025-03-20T07:59:19.813" v="1936" actId="20577"/>
        <pc:sldMkLst>
          <pc:docMk/>
          <pc:sldMk cId="88093545" sldId="2147483372"/>
        </pc:sldMkLst>
      </pc:sldChg>
      <pc:sldChg chg="addSp delSp modSp mod">
        <pc:chgData name="Munarriz Herrador Iñaki" userId="11637121-8aee-420b-9db7-54651cb06796" providerId="ADAL" clId="{028FF6F6-5B42-4493-A926-90FAA58B796E}" dt="2025-03-20T08:44:57.924" v="3094" actId="20577"/>
        <pc:sldMkLst>
          <pc:docMk/>
          <pc:sldMk cId="1243781170" sldId="2147483373"/>
        </pc:sldMkLst>
      </pc:sldChg>
      <pc:sldChg chg="addSp delSp modSp mod ord">
        <pc:chgData name="Munarriz Herrador Iñaki" userId="11637121-8aee-420b-9db7-54651cb06796" providerId="ADAL" clId="{028FF6F6-5B42-4493-A926-90FAA58B796E}" dt="2025-03-20T09:07:53.148" v="3388" actId="20577"/>
        <pc:sldMkLst>
          <pc:docMk/>
          <pc:sldMk cId="2818866366" sldId="2147483379"/>
        </pc:sldMkLst>
      </pc:sldChg>
      <pc:sldChg chg="delSp modSp mod">
        <pc:chgData name="Munarriz Herrador Iñaki" userId="11637121-8aee-420b-9db7-54651cb06796" providerId="ADAL" clId="{028FF6F6-5B42-4493-A926-90FAA58B796E}" dt="2025-03-19T23:07:26.854" v="1724" actId="255"/>
        <pc:sldMkLst>
          <pc:docMk/>
          <pc:sldMk cId="3033939552" sldId="2147483388"/>
        </pc:sldMkLst>
      </pc:sldChg>
      <pc:sldChg chg="addSp delSp modSp mod ord">
        <pc:chgData name="Munarriz Herrador Iñaki" userId="11637121-8aee-420b-9db7-54651cb06796" providerId="ADAL" clId="{028FF6F6-5B42-4493-A926-90FAA58B796E}" dt="2025-03-20T08:53:30.506" v="3188" actId="478"/>
        <pc:sldMkLst>
          <pc:docMk/>
          <pc:sldMk cId="937404720" sldId="2147483389"/>
        </pc:sldMkLst>
      </pc:sldChg>
      <pc:sldChg chg="ord">
        <pc:chgData name="Munarriz Herrador Iñaki" userId="11637121-8aee-420b-9db7-54651cb06796" providerId="ADAL" clId="{028FF6F6-5B42-4493-A926-90FAA58B796E}" dt="2025-03-19T23:08:14.105" v="1730"/>
        <pc:sldMkLst>
          <pc:docMk/>
          <pc:sldMk cId="538967907" sldId="2147483390"/>
        </pc:sldMkLst>
      </pc:sldChg>
      <pc:sldChg chg="ord">
        <pc:chgData name="Munarriz Herrador Iñaki" userId="11637121-8aee-420b-9db7-54651cb06796" providerId="ADAL" clId="{028FF6F6-5B42-4493-A926-90FAA58B796E}" dt="2025-03-19T23:08:14.105" v="1730"/>
        <pc:sldMkLst>
          <pc:docMk/>
          <pc:sldMk cId="2900280720" sldId="2147483391"/>
        </pc:sldMkLst>
      </pc:sldChg>
      <pc:sldChg chg="del">
        <pc:chgData name="Munarriz Herrador Iñaki" userId="11637121-8aee-420b-9db7-54651cb06796" providerId="ADAL" clId="{028FF6F6-5B42-4493-A926-90FAA58B796E}" dt="2025-03-19T23:08:39.984" v="1731" actId="47"/>
        <pc:sldMkLst>
          <pc:docMk/>
          <pc:sldMk cId="2732855569" sldId="2147483392"/>
        </pc:sldMkLst>
      </pc:sldChg>
      <pc:sldChg chg="del">
        <pc:chgData name="Munarriz Herrador Iñaki" userId="11637121-8aee-420b-9db7-54651cb06796" providerId="ADAL" clId="{028FF6F6-5B42-4493-A926-90FAA58B796E}" dt="2025-03-19T23:07:34.665" v="1725" actId="47"/>
        <pc:sldMkLst>
          <pc:docMk/>
          <pc:sldMk cId="45361350" sldId="2147483393"/>
        </pc:sldMkLst>
      </pc:sldChg>
      <pc:sldChg chg="del">
        <pc:chgData name="Munarriz Herrador Iñaki" userId="11637121-8aee-420b-9db7-54651cb06796" providerId="ADAL" clId="{028FF6F6-5B42-4493-A926-90FAA58B796E}" dt="2025-03-19T23:08:03.754" v="1728" actId="47"/>
        <pc:sldMkLst>
          <pc:docMk/>
          <pc:sldMk cId="2930060632" sldId="2147483394"/>
        </pc:sldMkLst>
      </pc:sldChg>
      <pc:sldChg chg="addSp delSp modSp add mod">
        <pc:chgData name="Munarriz Herrador Iñaki" userId="11637121-8aee-420b-9db7-54651cb06796" providerId="ADAL" clId="{028FF6F6-5B42-4493-A926-90FAA58B796E}" dt="2025-03-20T09:27:43.160" v="3789" actId="1035"/>
        <pc:sldMkLst>
          <pc:docMk/>
          <pc:sldMk cId="2649532606" sldId="2147483395"/>
        </pc:sldMkLst>
      </pc:sldChg>
      <pc:sldChg chg="addSp delSp modSp add del mod">
        <pc:chgData name="Munarriz Herrador Iñaki" userId="11637121-8aee-420b-9db7-54651cb06796" providerId="ADAL" clId="{028FF6F6-5B42-4493-A926-90FAA58B796E}" dt="2025-03-19T23:15:18.249" v="1855" actId="47"/>
        <pc:sldMkLst>
          <pc:docMk/>
          <pc:sldMk cId="40341960" sldId="2147483396"/>
        </pc:sldMkLst>
      </pc:sldChg>
      <pc:sldChg chg="addSp delSp modSp add mod">
        <pc:chgData name="Munarriz Herrador Iñaki" userId="11637121-8aee-420b-9db7-54651cb06796" providerId="ADAL" clId="{028FF6F6-5B42-4493-A926-90FAA58B796E}" dt="2025-03-20T07:59:42.119" v="1947" actId="20577"/>
        <pc:sldMkLst>
          <pc:docMk/>
          <pc:sldMk cId="4055449794" sldId="2147483397"/>
        </pc:sldMkLst>
      </pc:sldChg>
      <pc:sldChg chg="addSp delSp modSp add mod">
        <pc:chgData name="Munarriz Herrador Iñaki" userId="11637121-8aee-420b-9db7-54651cb06796" providerId="ADAL" clId="{028FF6F6-5B42-4493-A926-90FAA58B796E}" dt="2025-03-20T07:59:46.673" v="1950" actId="20577"/>
        <pc:sldMkLst>
          <pc:docMk/>
          <pc:sldMk cId="2877243688" sldId="2147483398"/>
        </pc:sldMkLst>
      </pc:sldChg>
      <pc:sldChg chg="addSp delSp modSp add mod">
        <pc:chgData name="Munarriz Herrador Iñaki" userId="11637121-8aee-420b-9db7-54651cb06796" providerId="ADAL" clId="{028FF6F6-5B42-4493-A926-90FAA58B796E}" dt="2025-03-20T07:59:50.219" v="1953" actId="20577"/>
        <pc:sldMkLst>
          <pc:docMk/>
          <pc:sldMk cId="3820138667" sldId="2147483399"/>
        </pc:sldMkLst>
      </pc:sldChg>
      <pc:sldChg chg="delSp modSp add del mod ord">
        <pc:chgData name="Munarriz Herrador Iñaki" userId="11637121-8aee-420b-9db7-54651cb06796" providerId="ADAL" clId="{028FF6F6-5B42-4493-A926-90FAA58B796E}" dt="2025-03-20T07:57:41.723" v="1869" actId="47"/>
        <pc:sldMkLst>
          <pc:docMk/>
          <pc:sldMk cId="202366616" sldId="2147483400"/>
        </pc:sldMkLst>
      </pc:sldChg>
      <pc:sldChg chg="add del">
        <pc:chgData name="Munarriz Herrador Iñaki" userId="11637121-8aee-420b-9db7-54651cb06796" providerId="ADAL" clId="{028FF6F6-5B42-4493-A926-90FAA58B796E}" dt="2025-03-20T09:03:08.490" v="3293" actId="47"/>
        <pc:sldMkLst>
          <pc:docMk/>
          <pc:sldMk cId="3151205359" sldId="2147483400"/>
        </pc:sldMkLst>
      </pc:sldChg>
      <pc:sldChg chg="add ord">
        <pc:chgData name="Munarriz Herrador Iñaki" userId="11637121-8aee-420b-9db7-54651cb06796" providerId="ADAL" clId="{028FF6F6-5B42-4493-A926-90FAA58B796E}" dt="2025-03-20T14:51:52.641" v="3792"/>
        <pc:sldMkLst>
          <pc:docMk/>
          <pc:sldMk cId="3328959841" sldId="2147483400"/>
        </pc:sldMkLst>
      </pc:sldChg>
    </pc:docChg>
  </pc:docChgLst>
  <pc:docChgLst>
    <pc:chgData name="Munarriz Herrador Iñaki" userId="11637121-8aee-420b-9db7-54651cb06796" providerId="ADAL" clId="{D346BDBC-FFFB-46A0-8E64-975E5FEF44DF}"/>
    <pc:docChg chg="undo redo custSel addSld delSld modSld sldOrd modSection">
      <pc:chgData name="Munarriz Herrador Iñaki" userId="11637121-8aee-420b-9db7-54651cb06796" providerId="ADAL" clId="{D346BDBC-FFFB-46A0-8E64-975E5FEF44DF}" dt="2025-07-03T14:09:58.230" v="2486" actId="20577"/>
      <pc:docMkLst>
        <pc:docMk/>
      </pc:docMkLst>
      <pc:sldChg chg="modSp mod">
        <pc:chgData name="Munarriz Herrador Iñaki" userId="11637121-8aee-420b-9db7-54651cb06796" providerId="ADAL" clId="{D346BDBC-FFFB-46A0-8E64-975E5FEF44DF}" dt="2025-07-03T14:09:58.230" v="2486" actId="20577"/>
        <pc:sldMkLst>
          <pc:docMk/>
          <pc:sldMk cId="0" sldId="2147483315"/>
        </pc:sldMkLst>
        <pc:spChg chg="mod">
          <ac:chgData name="Munarriz Herrador Iñaki" userId="11637121-8aee-420b-9db7-54651cb06796" providerId="ADAL" clId="{D346BDBC-FFFB-46A0-8E64-975E5FEF44DF}" dt="2025-06-15T06:23:16.734" v="31" actId="20577"/>
          <ac:spMkLst>
            <pc:docMk/>
            <pc:sldMk cId="0" sldId="2147483315"/>
            <ac:spMk id="6" creationId="{00000000-0000-0000-0000-000000000000}"/>
          </ac:spMkLst>
        </pc:spChg>
        <pc:spChg chg="mod">
          <ac:chgData name="Munarriz Herrador Iñaki" userId="11637121-8aee-420b-9db7-54651cb06796" providerId="ADAL" clId="{D346BDBC-FFFB-46A0-8E64-975E5FEF44DF}" dt="2025-07-03T14:09:58.230" v="2486" actId="20577"/>
          <ac:spMkLst>
            <pc:docMk/>
            <pc:sldMk cId="0" sldId="2147483315"/>
            <ac:spMk id="11" creationId="{D2ABA22D-F23D-20AB-0DA8-B06D42BD659D}"/>
          </ac:spMkLst>
        </pc:spChg>
      </pc:sldChg>
      <pc:sldChg chg="modSp mod">
        <pc:chgData name="Munarriz Herrador Iñaki" userId="11637121-8aee-420b-9db7-54651cb06796" providerId="ADAL" clId="{D346BDBC-FFFB-46A0-8E64-975E5FEF44DF}" dt="2025-06-17T11:29:31.957" v="1880" actId="207"/>
        <pc:sldMkLst>
          <pc:docMk/>
          <pc:sldMk cId="88093545" sldId="2147483372"/>
        </pc:sldMkLst>
        <pc:spChg chg="mod">
          <ac:chgData name="Munarriz Herrador Iñaki" userId="11637121-8aee-420b-9db7-54651cb06796" providerId="ADAL" clId="{D346BDBC-FFFB-46A0-8E64-975E5FEF44DF}" dt="2025-06-17T11:29:31.957" v="1880" actId="207"/>
          <ac:spMkLst>
            <pc:docMk/>
            <pc:sldMk cId="88093545" sldId="2147483372"/>
            <ac:spMk id="8" creationId="{B653FEEB-5B1B-5220-1426-D789485673FE}"/>
          </ac:spMkLst>
        </pc:spChg>
      </pc:sldChg>
      <pc:sldChg chg="addSp delSp modSp mod">
        <pc:chgData name="Munarriz Herrador Iñaki" userId="11637121-8aee-420b-9db7-54651cb06796" providerId="ADAL" clId="{D346BDBC-FFFB-46A0-8E64-975E5FEF44DF}" dt="2025-06-16T05:54:11.001" v="1569" actId="20577"/>
        <pc:sldMkLst>
          <pc:docMk/>
          <pc:sldMk cId="1243781170" sldId="2147483373"/>
        </pc:sldMkLst>
        <pc:spChg chg="mod">
          <ac:chgData name="Munarriz Herrador Iñaki" userId="11637121-8aee-420b-9db7-54651cb06796" providerId="ADAL" clId="{D346BDBC-FFFB-46A0-8E64-975E5FEF44DF}" dt="2025-06-16T05:54:11.001" v="1569" actId="20577"/>
          <ac:spMkLst>
            <pc:docMk/>
            <pc:sldMk cId="1243781170" sldId="2147483373"/>
            <ac:spMk id="2" creationId="{0D0F0FBB-CF31-7258-D6B3-FD3CCD13F048}"/>
          </ac:spMkLst>
        </pc:spChg>
        <pc:spChg chg="add mod">
          <ac:chgData name="Munarriz Herrador Iñaki" userId="11637121-8aee-420b-9db7-54651cb06796" providerId="ADAL" clId="{D346BDBC-FFFB-46A0-8E64-975E5FEF44DF}" dt="2025-06-15T20:48:52.619" v="154" actId="20577"/>
          <ac:spMkLst>
            <pc:docMk/>
            <pc:sldMk cId="1243781170" sldId="2147483373"/>
            <ac:spMk id="6" creationId="{8BEF89A0-9B50-124A-6F46-17A2C809E6F0}"/>
          </ac:spMkLst>
        </pc:spChg>
        <pc:spChg chg="add del mod ord topLvl">
          <ac:chgData name="Munarriz Herrador Iñaki" userId="11637121-8aee-420b-9db7-54651cb06796" providerId="ADAL" clId="{D346BDBC-FFFB-46A0-8E64-975E5FEF44DF}" dt="2025-06-15T21:09:26.042" v="393" actId="164"/>
          <ac:spMkLst>
            <pc:docMk/>
            <pc:sldMk cId="1243781170" sldId="2147483373"/>
            <ac:spMk id="11" creationId="{5BB125DB-F813-949A-99A7-A9A6AC44B387}"/>
          </ac:spMkLst>
        </pc:spChg>
        <pc:spChg chg="mod topLvl">
          <ac:chgData name="Munarriz Herrador Iñaki" userId="11637121-8aee-420b-9db7-54651cb06796" providerId="ADAL" clId="{D346BDBC-FFFB-46A0-8E64-975E5FEF44DF}" dt="2025-06-15T21:09:26.042" v="393" actId="164"/>
          <ac:spMkLst>
            <pc:docMk/>
            <pc:sldMk cId="1243781170" sldId="2147483373"/>
            <ac:spMk id="14" creationId="{E3CF0BD5-F2D8-4DDE-B1A9-1CBB336FB670}"/>
          </ac:spMkLst>
        </pc:spChg>
        <pc:spChg chg="add mod topLvl">
          <ac:chgData name="Munarriz Herrador Iñaki" userId="11637121-8aee-420b-9db7-54651cb06796" providerId="ADAL" clId="{D346BDBC-FFFB-46A0-8E64-975E5FEF44DF}" dt="2025-06-15T21:09:26.042" v="393" actId="164"/>
          <ac:spMkLst>
            <pc:docMk/>
            <pc:sldMk cId="1243781170" sldId="2147483373"/>
            <ac:spMk id="15" creationId="{D8166BA2-5257-6133-A7CD-BB5D108FE22A}"/>
          </ac:spMkLst>
        </pc:spChg>
        <pc:spChg chg="add mod topLvl">
          <ac:chgData name="Munarriz Herrador Iñaki" userId="11637121-8aee-420b-9db7-54651cb06796" providerId="ADAL" clId="{D346BDBC-FFFB-46A0-8E64-975E5FEF44DF}" dt="2025-06-15T21:09:26.042" v="393" actId="164"/>
          <ac:spMkLst>
            <pc:docMk/>
            <pc:sldMk cId="1243781170" sldId="2147483373"/>
            <ac:spMk id="16" creationId="{4FEB89AF-6493-CA4A-A375-523CA0F523C1}"/>
          </ac:spMkLst>
        </pc:spChg>
        <pc:spChg chg="add mod">
          <ac:chgData name="Munarriz Herrador Iñaki" userId="11637121-8aee-420b-9db7-54651cb06796" providerId="ADAL" clId="{D346BDBC-FFFB-46A0-8E64-975E5FEF44DF}" dt="2025-06-15T21:09:29.818" v="394" actId="164"/>
          <ac:spMkLst>
            <pc:docMk/>
            <pc:sldMk cId="1243781170" sldId="2147483373"/>
            <ac:spMk id="17" creationId="{E489FA0E-5146-4715-B5C6-F21415523D81}"/>
          </ac:spMkLst>
        </pc:spChg>
        <pc:spChg chg="add mod topLvl">
          <ac:chgData name="Munarriz Herrador Iñaki" userId="11637121-8aee-420b-9db7-54651cb06796" providerId="ADAL" clId="{D346BDBC-FFFB-46A0-8E64-975E5FEF44DF}" dt="2025-06-15T21:09:26.042" v="393" actId="164"/>
          <ac:spMkLst>
            <pc:docMk/>
            <pc:sldMk cId="1243781170" sldId="2147483373"/>
            <ac:spMk id="25" creationId="{3DC411D3-02E6-2C49-577E-431E3D1FF260}"/>
          </ac:spMkLst>
        </pc:spChg>
        <pc:spChg chg="add mod">
          <ac:chgData name="Munarriz Herrador Iñaki" userId="11637121-8aee-420b-9db7-54651cb06796" providerId="ADAL" clId="{D346BDBC-FFFB-46A0-8E64-975E5FEF44DF}" dt="2025-06-15T21:09:29.818" v="394" actId="164"/>
          <ac:spMkLst>
            <pc:docMk/>
            <pc:sldMk cId="1243781170" sldId="2147483373"/>
            <ac:spMk id="27" creationId="{A18CB189-6B2F-FF05-C878-C05BFBA1E48F}"/>
          </ac:spMkLst>
        </pc:spChg>
        <pc:spChg chg="add mod">
          <ac:chgData name="Munarriz Herrador Iñaki" userId="11637121-8aee-420b-9db7-54651cb06796" providerId="ADAL" clId="{D346BDBC-FFFB-46A0-8E64-975E5FEF44DF}" dt="2025-06-15T21:09:29.818" v="394" actId="164"/>
          <ac:spMkLst>
            <pc:docMk/>
            <pc:sldMk cId="1243781170" sldId="2147483373"/>
            <ac:spMk id="28" creationId="{6DC94D33-0540-8411-9AFF-BC554570FD22}"/>
          </ac:spMkLst>
        </pc:spChg>
        <pc:spChg chg="mod">
          <ac:chgData name="Munarriz Herrador Iñaki" userId="11637121-8aee-420b-9db7-54651cb06796" providerId="ADAL" clId="{D346BDBC-FFFB-46A0-8E64-975E5FEF44DF}" dt="2025-06-15T21:12:32.571" v="630" actId="20577"/>
          <ac:spMkLst>
            <pc:docMk/>
            <pc:sldMk cId="1243781170" sldId="2147483373"/>
            <ac:spMk id="38" creationId="{691FDFAE-1869-C9D8-593E-52E54B8D9BA8}"/>
          </ac:spMkLst>
        </pc:spChg>
        <pc:spChg chg="mod">
          <ac:chgData name="Munarriz Herrador Iñaki" userId="11637121-8aee-420b-9db7-54651cb06796" providerId="ADAL" clId="{D346BDBC-FFFB-46A0-8E64-975E5FEF44DF}" dt="2025-06-15T21:12:46.328" v="632" actId="20577"/>
          <ac:spMkLst>
            <pc:docMk/>
            <pc:sldMk cId="1243781170" sldId="2147483373"/>
            <ac:spMk id="39" creationId="{CC4DDFF4-761D-995B-6DF0-1E7532E18886}"/>
          </ac:spMkLst>
        </pc:spChg>
        <pc:spChg chg="mod">
          <ac:chgData name="Munarriz Herrador Iñaki" userId="11637121-8aee-420b-9db7-54651cb06796" providerId="ADAL" clId="{D346BDBC-FFFB-46A0-8E64-975E5FEF44DF}" dt="2025-06-15T21:09:41.688" v="398"/>
          <ac:spMkLst>
            <pc:docMk/>
            <pc:sldMk cId="1243781170" sldId="2147483373"/>
            <ac:spMk id="41" creationId="{1D17B2A6-1FC3-8256-10F3-3AFCA2296B20}"/>
          </ac:spMkLst>
        </pc:spChg>
        <pc:spChg chg="mod">
          <ac:chgData name="Munarriz Herrador Iñaki" userId="11637121-8aee-420b-9db7-54651cb06796" providerId="ADAL" clId="{D346BDBC-FFFB-46A0-8E64-975E5FEF44DF}" dt="2025-06-15T21:13:01.589" v="635" actId="20577"/>
          <ac:spMkLst>
            <pc:docMk/>
            <pc:sldMk cId="1243781170" sldId="2147483373"/>
            <ac:spMk id="42" creationId="{9320906B-9399-F7D8-A216-3D8FA59FFFD9}"/>
          </ac:spMkLst>
        </pc:spChg>
        <pc:spChg chg="mod ord">
          <ac:chgData name="Munarriz Herrador Iñaki" userId="11637121-8aee-420b-9db7-54651cb06796" providerId="ADAL" clId="{D346BDBC-FFFB-46A0-8E64-975E5FEF44DF}" dt="2025-06-15T21:12:06.315" v="626" actId="20577"/>
          <ac:spMkLst>
            <pc:docMk/>
            <pc:sldMk cId="1243781170" sldId="2147483373"/>
            <ac:spMk id="44" creationId="{9947456F-95BE-E86D-DF69-B445F45E839E}"/>
          </ac:spMkLst>
        </pc:spChg>
        <pc:spChg chg="mod">
          <ac:chgData name="Munarriz Herrador Iñaki" userId="11637121-8aee-420b-9db7-54651cb06796" providerId="ADAL" clId="{D346BDBC-FFFB-46A0-8E64-975E5FEF44DF}" dt="2025-06-15T21:11:58.775" v="624" actId="14100"/>
          <ac:spMkLst>
            <pc:docMk/>
            <pc:sldMk cId="1243781170" sldId="2147483373"/>
            <ac:spMk id="45" creationId="{F10211DB-E9CE-756B-FFAA-2E035271535F}"/>
          </ac:spMkLst>
        </pc:spChg>
        <pc:spChg chg="mod">
          <ac:chgData name="Munarriz Herrador Iñaki" userId="11637121-8aee-420b-9db7-54651cb06796" providerId="ADAL" clId="{D346BDBC-FFFB-46A0-8E64-975E5FEF44DF}" dt="2025-06-15T21:11:19.771" v="619"/>
          <ac:spMkLst>
            <pc:docMk/>
            <pc:sldMk cId="1243781170" sldId="2147483373"/>
            <ac:spMk id="46" creationId="{2911DFDA-7CBF-CE55-8527-50CF72078341}"/>
          </ac:spMkLst>
        </pc:spChg>
        <pc:grpChg chg="add mod">
          <ac:chgData name="Munarriz Herrador Iñaki" userId="11637121-8aee-420b-9db7-54651cb06796" providerId="ADAL" clId="{D346BDBC-FFFB-46A0-8E64-975E5FEF44DF}" dt="2025-06-15T21:10:32.800" v="613" actId="1037"/>
          <ac:grpSpMkLst>
            <pc:docMk/>
            <pc:sldMk cId="1243781170" sldId="2147483373"/>
            <ac:grpSpMk id="29" creationId="{55ADB1C4-4FDB-F17E-A0AE-07572E04D345}"/>
          </ac:grpSpMkLst>
        </pc:grpChg>
        <pc:grpChg chg="add mod">
          <ac:chgData name="Munarriz Herrador Iñaki" userId="11637121-8aee-420b-9db7-54651cb06796" providerId="ADAL" clId="{D346BDBC-FFFB-46A0-8E64-975E5FEF44DF}" dt="2025-06-15T21:10:32.800" v="613" actId="1037"/>
          <ac:grpSpMkLst>
            <pc:docMk/>
            <pc:sldMk cId="1243781170" sldId="2147483373"/>
            <ac:grpSpMk id="30" creationId="{3482CECA-D2B8-8BF2-C6F7-848A18B53E1A}"/>
          </ac:grpSpMkLst>
        </pc:grpChg>
        <pc:grpChg chg="add mod">
          <ac:chgData name="Munarriz Herrador Iñaki" userId="11637121-8aee-420b-9db7-54651cb06796" providerId="ADAL" clId="{D346BDBC-FFFB-46A0-8E64-975E5FEF44DF}" dt="2025-06-15T21:10:32.800" v="613" actId="1037"/>
          <ac:grpSpMkLst>
            <pc:docMk/>
            <pc:sldMk cId="1243781170" sldId="2147483373"/>
            <ac:grpSpMk id="37" creationId="{8976AAF8-1F55-AD82-9D98-6FFA3060D36A}"/>
          </ac:grpSpMkLst>
        </pc:grpChg>
        <pc:grpChg chg="add mod">
          <ac:chgData name="Munarriz Herrador Iñaki" userId="11637121-8aee-420b-9db7-54651cb06796" providerId="ADAL" clId="{D346BDBC-FFFB-46A0-8E64-975E5FEF44DF}" dt="2025-06-15T21:11:36.184" v="621" actId="14100"/>
          <ac:grpSpMkLst>
            <pc:docMk/>
            <pc:sldMk cId="1243781170" sldId="2147483373"/>
            <ac:grpSpMk id="43" creationId="{64ED50A7-AB2A-7F01-F5AB-15829F2C15D0}"/>
          </ac:grpSpMkLst>
        </pc:grpChg>
      </pc:sldChg>
      <pc:sldChg chg="del">
        <pc:chgData name="Munarriz Herrador Iñaki" userId="11637121-8aee-420b-9db7-54651cb06796" providerId="ADAL" clId="{D346BDBC-FFFB-46A0-8E64-975E5FEF44DF}" dt="2025-06-15T22:08:02.973" v="1285" actId="47"/>
        <pc:sldMkLst>
          <pc:docMk/>
          <pc:sldMk cId="2818866366" sldId="2147483379"/>
        </pc:sldMkLst>
      </pc:sldChg>
      <pc:sldChg chg="del">
        <pc:chgData name="Munarriz Herrador Iñaki" userId="11637121-8aee-420b-9db7-54651cb06796" providerId="ADAL" clId="{D346BDBC-FFFB-46A0-8E64-975E5FEF44DF}" dt="2025-06-15T22:08:02.973" v="1285" actId="47"/>
        <pc:sldMkLst>
          <pc:docMk/>
          <pc:sldMk cId="3033939552" sldId="2147483388"/>
        </pc:sldMkLst>
      </pc:sldChg>
      <pc:sldChg chg="del">
        <pc:chgData name="Munarriz Herrador Iñaki" userId="11637121-8aee-420b-9db7-54651cb06796" providerId="ADAL" clId="{D346BDBC-FFFB-46A0-8E64-975E5FEF44DF}" dt="2025-06-15T22:08:02.973" v="1285" actId="47"/>
        <pc:sldMkLst>
          <pc:docMk/>
          <pc:sldMk cId="937404720" sldId="2147483389"/>
        </pc:sldMkLst>
      </pc:sldChg>
      <pc:sldChg chg="del">
        <pc:chgData name="Munarriz Herrador Iñaki" userId="11637121-8aee-420b-9db7-54651cb06796" providerId="ADAL" clId="{D346BDBC-FFFB-46A0-8E64-975E5FEF44DF}" dt="2025-06-15T22:08:02.973" v="1285" actId="47"/>
        <pc:sldMkLst>
          <pc:docMk/>
          <pc:sldMk cId="538967907" sldId="2147483390"/>
        </pc:sldMkLst>
      </pc:sldChg>
      <pc:sldChg chg="del">
        <pc:chgData name="Munarriz Herrador Iñaki" userId="11637121-8aee-420b-9db7-54651cb06796" providerId="ADAL" clId="{D346BDBC-FFFB-46A0-8E64-975E5FEF44DF}" dt="2025-06-15T22:08:02.973" v="1285" actId="47"/>
        <pc:sldMkLst>
          <pc:docMk/>
          <pc:sldMk cId="2900280720" sldId="2147483391"/>
        </pc:sldMkLst>
      </pc:sldChg>
      <pc:sldChg chg="del">
        <pc:chgData name="Munarriz Herrador Iñaki" userId="11637121-8aee-420b-9db7-54651cb06796" providerId="ADAL" clId="{D346BDBC-FFFB-46A0-8E64-975E5FEF44DF}" dt="2025-06-15T22:08:02.973" v="1285" actId="47"/>
        <pc:sldMkLst>
          <pc:docMk/>
          <pc:sldMk cId="2649532606" sldId="2147483395"/>
        </pc:sldMkLst>
      </pc:sldChg>
      <pc:sldChg chg="del">
        <pc:chgData name="Munarriz Herrador Iñaki" userId="11637121-8aee-420b-9db7-54651cb06796" providerId="ADAL" clId="{D346BDBC-FFFB-46A0-8E64-975E5FEF44DF}" dt="2025-06-15T22:08:02.973" v="1285" actId="47"/>
        <pc:sldMkLst>
          <pc:docMk/>
          <pc:sldMk cId="4055449794" sldId="2147483397"/>
        </pc:sldMkLst>
      </pc:sldChg>
      <pc:sldChg chg="del">
        <pc:chgData name="Munarriz Herrador Iñaki" userId="11637121-8aee-420b-9db7-54651cb06796" providerId="ADAL" clId="{D346BDBC-FFFB-46A0-8E64-975E5FEF44DF}" dt="2025-06-15T22:08:02.973" v="1285" actId="47"/>
        <pc:sldMkLst>
          <pc:docMk/>
          <pc:sldMk cId="2877243688" sldId="2147483398"/>
        </pc:sldMkLst>
      </pc:sldChg>
      <pc:sldChg chg="del">
        <pc:chgData name="Munarriz Herrador Iñaki" userId="11637121-8aee-420b-9db7-54651cb06796" providerId="ADAL" clId="{D346BDBC-FFFB-46A0-8E64-975E5FEF44DF}" dt="2025-06-15T22:08:02.973" v="1285" actId="47"/>
        <pc:sldMkLst>
          <pc:docMk/>
          <pc:sldMk cId="3820138667" sldId="2147483399"/>
        </pc:sldMkLst>
      </pc:sldChg>
      <pc:sldChg chg="del">
        <pc:chgData name="Munarriz Herrador Iñaki" userId="11637121-8aee-420b-9db7-54651cb06796" providerId="ADAL" clId="{D346BDBC-FFFB-46A0-8E64-975E5FEF44DF}" dt="2025-06-15T22:08:02.973" v="1285" actId="47"/>
        <pc:sldMkLst>
          <pc:docMk/>
          <pc:sldMk cId="3328959841" sldId="2147483400"/>
        </pc:sldMkLst>
      </pc:sldChg>
      <pc:sldChg chg="addSp delSp modSp add mod">
        <pc:chgData name="Munarriz Herrador Iñaki" userId="11637121-8aee-420b-9db7-54651cb06796" providerId="ADAL" clId="{D346BDBC-FFFB-46A0-8E64-975E5FEF44DF}" dt="2025-06-16T05:54:14.810" v="1571" actId="20577"/>
        <pc:sldMkLst>
          <pc:docMk/>
          <pc:sldMk cId="2085739677" sldId="2147483401"/>
        </pc:sldMkLst>
        <pc:spChg chg="mod">
          <ac:chgData name="Munarriz Herrador Iñaki" userId="11637121-8aee-420b-9db7-54651cb06796" providerId="ADAL" clId="{D346BDBC-FFFB-46A0-8E64-975E5FEF44DF}" dt="2025-06-16T05:54:14.810" v="1571" actId="20577"/>
          <ac:spMkLst>
            <pc:docMk/>
            <pc:sldMk cId="2085739677" sldId="2147483401"/>
            <ac:spMk id="2" creationId="{3B484C4C-ACBA-F187-2C1F-D605A8F30CDF}"/>
          </ac:spMkLst>
        </pc:spChg>
        <pc:spChg chg="add mod">
          <ac:chgData name="Munarriz Herrador Iñaki" userId="11637121-8aee-420b-9db7-54651cb06796" providerId="ADAL" clId="{D346BDBC-FFFB-46A0-8E64-975E5FEF44DF}" dt="2025-06-15T21:33:32.393" v="922" actId="20577"/>
          <ac:spMkLst>
            <pc:docMk/>
            <pc:sldMk cId="2085739677" sldId="2147483401"/>
            <ac:spMk id="4" creationId="{6C273F7D-CCBD-F3F2-7BED-FB9C3AD4A092}"/>
          </ac:spMkLst>
        </pc:spChg>
        <pc:spChg chg="mod">
          <ac:chgData name="Munarriz Herrador Iñaki" userId="11637121-8aee-420b-9db7-54651cb06796" providerId="ADAL" clId="{D346BDBC-FFFB-46A0-8E64-975E5FEF44DF}" dt="2025-06-15T21:34:39.722" v="950" actId="113"/>
          <ac:spMkLst>
            <pc:docMk/>
            <pc:sldMk cId="2085739677" sldId="2147483401"/>
            <ac:spMk id="6" creationId="{4D640CA6-3CA2-8440-10D3-BFED64F620AB}"/>
          </ac:spMkLst>
        </pc:spChg>
        <pc:picChg chg="add mod">
          <ac:chgData name="Munarriz Herrador Iñaki" userId="11637121-8aee-420b-9db7-54651cb06796" providerId="ADAL" clId="{D346BDBC-FFFB-46A0-8E64-975E5FEF44DF}" dt="2025-06-15T21:40:20.320" v="1014" actId="1076"/>
          <ac:picMkLst>
            <pc:docMk/>
            <pc:sldMk cId="2085739677" sldId="2147483401"/>
            <ac:picMk id="1026" creationId="{71934056-E2BC-4B8B-AD68-704B7033CBAE}"/>
          </ac:picMkLst>
        </pc:picChg>
      </pc:sldChg>
      <pc:sldChg chg="addSp delSp modSp add mod">
        <pc:chgData name="Munarriz Herrador Iñaki" userId="11637121-8aee-420b-9db7-54651cb06796" providerId="ADAL" clId="{D346BDBC-FFFB-46A0-8E64-975E5FEF44DF}" dt="2025-06-16T05:54:18.735" v="1573" actId="20577"/>
        <pc:sldMkLst>
          <pc:docMk/>
          <pc:sldMk cId="2425737149" sldId="2147483402"/>
        </pc:sldMkLst>
        <pc:spChg chg="mod">
          <ac:chgData name="Munarriz Herrador Iñaki" userId="11637121-8aee-420b-9db7-54651cb06796" providerId="ADAL" clId="{D346BDBC-FFFB-46A0-8E64-975E5FEF44DF}" dt="2025-06-16T05:54:18.735" v="1573" actId="20577"/>
          <ac:spMkLst>
            <pc:docMk/>
            <pc:sldMk cId="2425737149" sldId="2147483402"/>
            <ac:spMk id="2" creationId="{ACB77CB7-F42A-5FB0-B055-007789A96A1D}"/>
          </ac:spMkLst>
        </pc:spChg>
        <pc:spChg chg="add mod">
          <ac:chgData name="Munarriz Herrador Iñaki" userId="11637121-8aee-420b-9db7-54651cb06796" providerId="ADAL" clId="{D346BDBC-FFFB-46A0-8E64-975E5FEF44DF}" dt="2025-06-15T21:31:54.384" v="918" actId="113"/>
          <ac:spMkLst>
            <pc:docMk/>
            <pc:sldMk cId="2425737149" sldId="2147483402"/>
            <ac:spMk id="3" creationId="{FAC61299-F5FC-080D-946C-5C28389BCA70}"/>
          </ac:spMkLst>
        </pc:spChg>
        <pc:spChg chg="add mod">
          <ac:chgData name="Munarriz Herrador Iñaki" userId="11637121-8aee-420b-9db7-54651cb06796" providerId="ADAL" clId="{D346BDBC-FFFB-46A0-8E64-975E5FEF44DF}" dt="2025-06-15T21:47:03.896" v="1082" actId="1036"/>
          <ac:spMkLst>
            <pc:docMk/>
            <pc:sldMk cId="2425737149" sldId="2147483402"/>
            <ac:spMk id="4" creationId="{D4622105-CF7D-BA1A-68ED-7FEA1D86F2D8}"/>
          </ac:spMkLst>
        </pc:spChg>
        <pc:spChg chg="add mod">
          <ac:chgData name="Munarriz Herrador Iñaki" userId="11637121-8aee-420b-9db7-54651cb06796" providerId="ADAL" clId="{D346BDBC-FFFB-46A0-8E64-975E5FEF44DF}" dt="2025-06-15T22:05:22.672" v="1270" actId="20577"/>
          <ac:spMkLst>
            <pc:docMk/>
            <pc:sldMk cId="2425737149" sldId="2147483402"/>
            <ac:spMk id="19" creationId="{99F8D1DC-4042-9C1A-1053-80D00B619010}"/>
          </ac:spMkLst>
        </pc:spChg>
        <pc:picChg chg="add mod">
          <ac:chgData name="Munarriz Herrador Iñaki" userId="11637121-8aee-420b-9db7-54651cb06796" providerId="ADAL" clId="{D346BDBC-FFFB-46A0-8E64-975E5FEF44DF}" dt="2025-06-15T22:06:31.556" v="1275" actId="1076"/>
          <ac:picMkLst>
            <pc:docMk/>
            <pc:sldMk cId="2425737149" sldId="2147483402"/>
            <ac:picMk id="21" creationId="{13B8B919-1D94-38FB-7CD5-F1BAF709952E}"/>
          </ac:picMkLst>
        </pc:picChg>
      </pc:sldChg>
      <pc:sldChg chg="addSp delSp modSp add mod">
        <pc:chgData name="Munarriz Herrador Iñaki" userId="11637121-8aee-420b-9db7-54651cb06796" providerId="ADAL" clId="{D346BDBC-FFFB-46A0-8E64-975E5FEF44DF}" dt="2025-06-16T05:54:23.361" v="1575" actId="20577"/>
        <pc:sldMkLst>
          <pc:docMk/>
          <pc:sldMk cId="2876304681" sldId="2147483403"/>
        </pc:sldMkLst>
        <pc:spChg chg="mod">
          <ac:chgData name="Munarriz Herrador Iñaki" userId="11637121-8aee-420b-9db7-54651cb06796" providerId="ADAL" clId="{D346BDBC-FFFB-46A0-8E64-975E5FEF44DF}" dt="2025-06-16T05:54:23.361" v="1575" actId="20577"/>
          <ac:spMkLst>
            <pc:docMk/>
            <pc:sldMk cId="2876304681" sldId="2147483403"/>
            <ac:spMk id="2" creationId="{4A80D32E-D9E2-EBF1-B0F9-4190918EEB7F}"/>
          </ac:spMkLst>
        </pc:spChg>
        <pc:spChg chg="add mod">
          <ac:chgData name="Munarriz Herrador Iñaki" userId="11637121-8aee-420b-9db7-54651cb06796" providerId="ADAL" clId="{D346BDBC-FFFB-46A0-8E64-975E5FEF44DF}" dt="2025-06-15T21:29:54.607" v="889" actId="20577"/>
          <ac:spMkLst>
            <pc:docMk/>
            <pc:sldMk cId="2876304681" sldId="2147483403"/>
            <ac:spMk id="5" creationId="{8FFE0C7C-8905-87EB-961B-08C43712579F}"/>
          </ac:spMkLst>
        </pc:spChg>
        <pc:spChg chg="add mod">
          <ac:chgData name="Munarriz Herrador Iñaki" userId="11637121-8aee-420b-9db7-54651cb06796" providerId="ADAL" clId="{D346BDBC-FFFB-46A0-8E64-975E5FEF44DF}" dt="2025-06-15T22:04:23.837" v="1266" actId="1036"/>
          <ac:spMkLst>
            <pc:docMk/>
            <pc:sldMk cId="2876304681" sldId="2147483403"/>
            <ac:spMk id="7" creationId="{4A617EC1-426D-C28B-A990-A67E8A01E824}"/>
          </ac:spMkLst>
        </pc:spChg>
        <pc:spChg chg="add mod">
          <ac:chgData name="Munarriz Herrador Iñaki" userId="11637121-8aee-420b-9db7-54651cb06796" providerId="ADAL" clId="{D346BDBC-FFFB-46A0-8E64-975E5FEF44DF}" dt="2025-06-15T22:04:19.005" v="1248" actId="20577"/>
          <ac:spMkLst>
            <pc:docMk/>
            <pc:sldMk cId="2876304681" sldId="2147483403"/>
            <ac:spMk id="10" creationId="{0D577BC0-7357-8FFE-B26A-E7BCF345F251}"/>
          </ac:spMkLst>
        </pc:spChg>
        <pc:picChg chg="add mod">
          <ac:chgData name="Munarriz Herrador Iñaki" userId="11637121-8aee-420b-9db7-54651cb06796" providerId="ADAL" clId="{D346BDBC-FFFB-46A0-8E64-975E5FEF44DF}" dt="2025-06-15T22:03:14.788" v="1239" actId="1076"/>
          <ac:picMkLst>
            <pc:docMk/>
            <pc:sldMk cId="2876304681" sldId="2147483403"/>
            <ac:picMk id="2051" creationId="{4A13B39E-0CC7-5D54-207C-F3FBDCCD200B}"/>
          </ac:picMkLst>
        </pc:picChg>
      </pc:sldChg>
      <pc:sldChg chg="addSp delSp modSp add mod">
        <pc:chgData name="Munarriz Herrador Iñaki" userId="11637121-8aee-420b-9db7-54651cb06796" providerId="ADAL" clId="{D346BDBC-FFFB-46A0-8E64-975E5FEF44DF}" dt="2025-06-16T05:54:27.640" v="1577" actId="20577"/>
        <pc:sldMkLst>
          <pc:docMk/>
          <pc:sldMk cId="1567361310" sldId="2147483404"/>
        </pc:sldMkLst>
        <pc:spChg chg="mod">
          <ac:chgData name="Munarriz Herrador Iñaki" userId="11637121-8aee-420b-9db7-54651cb06796" providerId="ADAL" clId="{D346BDBC-FFFB-46A0-8E64-975E5FEF44DF}" dt="2025-06-16T05:54:27.640" v="1577" actId="20577"/>
          <ac:spMkLst>
            <pc:docMk/>
            <pc:sldMk cId="1567361310" sldId="2147483404"/>
            <ac:spMk id="2" creationId="{B43E28A7-BC6E-4545-262F-6F8575D2DDFE}"/>
          </ac:spMkLst>
        </pc:spChg>
        <pc:spChg chg="add mod">
          <ac:chgData name="Munarriz Herrador Iñaki" userId="11637121-8aee-420b-9db7-54651cb06796" providerId="ADAL" clId="{D346BDBC-FFFB-46A0-8E64-975E5FEF44DF}" dt="2025-06-15T21:23:47.207" v="804" actId="113"/>
          <ac:spMkLst>
            <pc:docMk/>
            <pc:sldMk cId="1567361310" sldId="2147483404"/>
            <ac:spMk id="3" creationId="{B97B8283-9D7A-AD36-2611-8BD5C55AB169}"/>
          </ac:spMkLst>
        </pc:spChg>
        <pc:spChg chg="add mod">
          <ac:chgData name="Munarriz Herrador Iñaki" userId="11637121-8aee-420b-9db7-54651cb06796" providerId="ADAL" clId="{D346BDBC-FFFB-46A0-8E64-975E5FEF44DF}" dt="2025-06-15T21:23:07.673" v="798"/>
          <ac:spMkLst>
            <pc:docMk/>
            <pc:sldMk cId="1567361310" sldId="2147483404"/>
            <ac:spMk id="4" creationId="{2D7BF6AD-8429-553E-2598-4813A186767E}"/>
          </ac:spMkLst>
        </pc:spChg>
        <pc:spChg chg="add mod">
          <ac:chgData name="Munarriz Herrador Iñaki" userId="11637121-8aee-420b-9db7-54651cb06796" providerId="ADAL" clId="{D346BDBC-FFFB-46A0-8E64-975E5FEF44DF}" dt="2025-06-15T21:54:48.840" v="1176" actId="948"/>
          <ac:spMkLst>
            <pc:docMk/>
            <pc:sldMk cId="1567361310" sldId="2147483404"/>
            <ac:spMk id="5" creationId="{2763B72E-0483-5AC0-EAE7-9E6A2D203F62}"/>
          </ac:spMkLst>
        </pc:spChg>
        <pc:picChg chg="add mod">
          <ac:chgData name="Munarriz Herrador Iñaki" userId="11637121-8aee-420b-9db7-54651cb06796" providerId="ADAL" clId="{D346BDBC-FFFB-46A0-8E64-975E5FEF44DF}" dt="2025-06-15T21:56:20.313" v="1180" actId="1076"/>
          <ac:picMkLst>
            <pc:docMk/>
            <pc:sldMk cId="1567361310" sldId="2147483404"/>
            <ac:picMk id="8" creationId="{60307FD9-016E-5123-5C09-52471FFDBA27}"/>
          </ac:picMkLst>
        </pc:picChg>
      </pc:sldChg>
      <pc:sldChg chg="addSp delSp modSp add mod">
        <pc:chgData name="Munarriz Herrador Iñaki" userId="11637121-8aee-420b-9db7-54651cb06796" providerId="ADAL" clId="{D346BDBC-FFFB-46A0-8E64-975E5FEF44DF}" dt="2025-06-16T05:54:35.051" v="1579" actId="20577"/>
        <pc:sldMkLst>
          <pc:docMk/>
          <pc:sldMk cId="559595493" sldId="2147483405"/>
        </pc:sldMkLst>
        <pc:spChg chg="mod">
          <ac:chgData name="Munarriz Herrador Iñaki" userId="11637121-8aee-420b-9db7-54651cb06796" providerId="ADAL" clId="{D346BDBC-FFFB-46A0-8E64-975E5FEF44DF}" dt="2025-06-16T05:54:35.051" v="1579" actId="20577"/>
          <ac:spMkLst>
            <pc:docMk/>
            <pc:sldMk cId="559595493" sldId="2147483405"/>
            <ac:spMk id="2" creationId="{576905A8-4513-7ED2-8934-B70A7592AA91}"/>
          </ac:spMkLst>
        </pc:spChg>
        <pc:spChg chg="add mod">
          <ac:chgData name="Munarriz Herrador Iñaki" userId="11637121-8aee-420b-9db7-54651cb06796" providerId="ADAL" clId="{D346BDBC-FFFB-46A0-8E64-975E5FEF44DF}" dt="2025-06-15T21:36:02.428" v="977" actId="20577"/>
          <ac:spMkLst>
            <pc:docMk/>
            <pc:sldMk cId="559595493" sldId="2147483405"/>
            <ac:spMk id="3" creationId="{3B3BE394-9508-4D4F-4EF1-3AC9B79334C0}"/>
          </ac:spMkLst>
        </pc:spChg>
        <pc:spChg chg="add mod">
          <ac:chgData name="Munarriz Herrador Iñaki" userId="11637121-8aee-420b-9db7-54651cb06796" providerId="ADAL" clId="{D346BDBC-FFFB-46A0-8E64-975E5FEF44DF}" dt="2025-06-15T21:35:32.292" v="960" actId="20577"/>
          <ac:spMkLst>
            <pc:docMk/>
            <pc:sldMk cId="559595493" sldId="2147483405"/>
            <ac:spMk id="4" creationId="{8D73FF08-54D5-282D-E40A-4933E1216A79}"/>
          </ac:spMkLst>
        </pc:spChg>
        <pc:spChg chg="add mod">
          <ac:chgData name="Munarriz Herrador Iñaki" userId="11637121-8aee-420b-9db7-54651cb06796" providerId="ADAL" clId="{D346BDBC-FFFB-46A0-8E64-975E5FEF44DF}" dt="2025-06-15T21:56:37.991" v="1182"/>
          <ac:spMkLst>
            <pc:docMk/>
            <pc:sldMk cId="559595493" sldId="2147483405"/>
            <ac:spMk id="9" creationId="{0F42B645-42C8-CE6F-25ED-4462701975ED}"/>
          </ac:spMkLst>
        </pc:spChg>
        <pc:picChg chg="add mod">
          <ac:chgData name="Munarriz Herrador Iñaki" userId="11637121-8aee-420b-9db7-54651cb06796" providerId="ADAL" clId="{D346BDBC-FFFB-46A0-8E64-975E5FEF44DF}" dt="2025-06-15T21:56:37.991" v="1182"/>
          <ac:picMkLst>
            <pc:docMk/>
            <pc:sldMk cId="559595493" sldId="2147483405"/>
            <ac:picMk id="18" creationId="{5286C3A3-4DB6-F80F-E7FB-CCB1D715A38C}"/>
          </ac:picMkLst>
        </pc:picChg>
      </pc:sldChg>
      <pc:sldChg chg="addSp delSp modSp add mod">
        <pc:chgData name="Munarriz Herrador Iñaki" userId="11637121-8aee-420b-9db7-54651cb06796" providerId="ADAL" clId="{D346BDBC-FFFB-46A0-8E64-975E5FEF44DF}" dt="2025-06-16T05:54:39.633" v="1581" actId="20577"/>
        <pc:sldMkLst>
          <pc:docMk/>
          <pc:sldMk cId="1724892760" sldId="2147483406"/>
        </pc:sldMkLst>
        <pc:spChg chg="mod">
          <ac:chgData name="Munarriz Herrador Iñaki" userId="11637121-8aee-420b-9db7-54651cb06796" providerId="ADAL" clId="{D346BDBC-FFFB-46A0-8E64-975E5FEF44DF}" dt="2025-06-16T05:54:39.633" v="1581" actId="20577"/>
          <ac:spMkLst>
            <pc:docMk/>
            <pc:sldMk cId="1724892760" sldId="2147483406"/>
            <ac:spMk id="2" creationId="{591CBB59-31FD-31A7-EF2D-509097201562}"/>
          </ac:spMkLst>
        </pc:spChg>
        <pc:spChg chg="add mod">
          <ac:chgData name="Munarriz Herrador Iñaki" userId="11637121-8aee-420b-9db7-54651cb06796" providerId="ADAL" clId="{D346BDBC-FFFB-46A0-8E64-975E5FEF44DF}" dt="2025-06-15T22:02:28.412" v="1228" actId="1035"/>
          <ac:spMkLst>
            <pc:docMk/>
            <pc:sldMk cId="1724892760" sldId="2147483406"/>
            <ac:spMk id="3" creationId="{5BE2908F-525F-80DE-745F-0E3C60001B89}"/>
          </ac:spMkLst>
        </pc:spChg>
        <pc:spChg chg="add mod">
          <ac:chgData name="Munarriz Herrador Iñaki" userId="11637121-8aee-420b-9db7-54651cb06796" providerId="ADAL" clId="{D346BDBC-FFFB-46A0-8E64-975E5FEF44DF}" dt="2025-06-15T22:01:58.310" v="1207" actId="14100"/>
          <ac:spMkLst>
            <pc:docMk/>
            <pc:sldMk cId="1724892760" sldId="2147483406"/>
            <ac:spMk id="4" creationId="{4370BA60-09B2-0E91-48C4-349C97FE701C}"/>
          </ac:spMkLst>
        </pc:spChg>
        <pc:spChg chg="add mod">
          <ac:chgData name="Munarriz Herrador Iñaki" userId="11637121-8aee-420b-9db7-54651cb06796" providerId="ADAL" clId="{D346BDBC-FFFB-46A0-8E64-975E5FEF44DF}" dt="2025-06-15T22:02:17.850" v="1214" actId="1076"/>
          <ac:spMkLst>
            <pc:docMk/>
            <pc:sldMk cId="1724892760" sldId="2147483406"/>
            <ac:spMk id="13" creationId="{35114BF3-E557-6CF1-9CFA-295F5F77DE79}"/>
          </ac:spMkLst>
        </pc:spChg>
        <pc:picChg chg="add mod">
          <ac:chgData name="Munarriz Herrador Iñaki" userId="11637121-8aee-420b-9db7-54651cb06796" providerId="ADAL" clId="{D346BDBC-FFFB-46A0-8E64-975E5FEF44DF}" dt="2025-06-15T22:02:37.539" v="1235" actId="1037"/>
          <ac:picMkLst>
            <pc:docMk/>
            <pc:sldMk cId="1724892760" sldId="2147483406"/>
            <ac:picMk id="19" creationId="{D3838FDD-E692-C7B9-16B1-31B443373D56}"/>
          </ac:picMkLst>
        </pc:picChg>
      </pc:sldChg>
      <pc:sldChg chg="addSp delSp modSp add mod">
        <pc:chgData name="Munarriz Herrador Iñaki" userId="11637121-8aee-420b-9db7-54651cb06796" providerId="ADAL" clId="{D346BDBC-FFFB-46A0-8E64-975E5FEF44DF}" dt="2025-06-16T05:54:43.468" v="1583" actId="20577"/>
        <pc:sldMkLst>
          <pc:docMk/>
          <pc:sldMk cId="3545608862" sldId="2147483407"/>
        </pc:sldMkLst>
        <pc:spChg chg="mod">
          <ac:chgData name="Munarriz Herrador Iñaki" userId="11637121-8aee-420b-9db7-54651cb06796" providerId="ADAL" clId="{D346BDBC-FFFB-46A0-8E64-975E5FEF44DF}" dt="2025-06-16T05:54:43.468" v="1583" actId="20577"/>
          <ac:spMkLst>
            <pc:docMk/>
            <pc:sldMk cId="3545608862" sldId="2147483407"/>
            <ac:spMk id="2" creationId="{710D3768-F6CB-E321-B47F-E6B0FB1C0E8C}"/>
          </ac:spMkLst>
        </pc:spChg>
        <pc:spChg chg="add mod">
          <ac:chgData name="Munarriz Herrador Iñaki" userId="11637121-8aee-420b-9db7-54651cb06796" providerId="ADAL" clId="{D346BDBC-FFFB-46A0-8E64-975E5FEF44DF}" dt="2025-06-15T21:37:52.247" v="1006" actId="113"/>
          <ac:spMkLst>
            <pc:docMk/>
            <pc:sldMk cId="3545608862" sldId="2147483407"/>
            <ac:spMk id="3" creationId="{68F923A4-423F-D4BE-20EC-4B701FCC883C}"/>
          </ac:spMkLst>
        </pc:spChg>
        <pc:spChg chg="add mod">
          <ac:chgData name="Munarriz Herrador Iñaki" userId="11637121-8aee-420b-9db7-54651cb06796" providerId="ADAL" clId="{D346BDBC-FFFB-46A0-8E64-975E5FEF44DF}" dt="2025-06-15T21:50:20.144" v="1146" actId="1036"/>
          <ac:spMkLst>
            <pc:docMk/>
            <pc:sldMk cId="3545608862" sldId="2147483407"/>
            <ac:spMk id="4" creationId="{FCBA60C6-CC72-AEDA-10B8-DF8E67072730}"/>
          </ac:spMkLst>
        </pc:spChg>
        <pc:spChg chg="add mod">
          <ac:chgData name="Munarriz Herrador Iñaki" userId="11637121-8aee-420b-9db7-54651cb06796" providerId="ADAL" clId="{D346BDBC-FFFB-46A0-8E64-975E5FEF44DF}" dt="2025-06-15T21:50:20.144" v="1146" actId="1036"/>
          <ac:spMkLst>
            <pc:docMk/>
            <pc:sldMk cId="3545608862" sldId="2147483407"/>
            <ac:spMk id="5" creationId="{64F8E71A-F6FF-8E7B-692A-9A94995A6D57}"/>
          </ac:spMkLst>
        </pc:spChg>
        <pc:picChg chg="add mod">
          <ac:chgData name="Munarriz Herrador Iñaki" userId="11637121-8aee-420b-9db7-54651cb06796" providerId="ADAL" clId="{D346BDBC-FFFB-46A0-8E64-975E5FEF44DF}" dt="2025-06-15T21:50:06.899" v="1112" actId="1036"/>
          <ac:picMkLst>
            <pc:docMk/>
            <pc:sldMk cId="3545608862" sldId="2147483407"/>
            <ac:picMk id="2050" creationId="{7C4D46E7-B512-51BF-7348-73559264A474}"/>
          </ac:picMkLst>
        </pc:picChg>
      </pc:sldChg>
      <pc:sldChg chg="addSp delSp modSp add mod">
        <pc:chgData name="Munarriz Herrador Iñaki" userId="11637121-8aee-420b-9db7-54651cb06796" providerId="ADAL" clId="{D346BDBC-FFFB-46A0-8E64-975E5FEF44DF}" dt="2025-06-16T05:54:47.921" v="1585" actId="20577"/>
        <pc:sldMkLst>
          <pc:docMk/>
          <pc:sldMk cId="624714175" sldId="2147483408"/>
        </pc:sldMkLst>
        <pc:spChg chg="mod">
          <ac:chgData name="Munarriz Herrador Iñaki" userId="11637121-8aee-420b-9db7-54651cb06796" providerId="ADAL" clId="{D346BDBC-FFFB-46A0-8E64-975E5FEF44DF}" dt="2025-06-16T05:54:47.921" v="1585" actId="20577"/>
          <ac:spMkLst>
            <pc:docMk/>
            <pc:sldMk cId="624714175" sldId="2147483408"/>
            <ac:spMk id="2" creationId="{B0F373CA-6161-D38F-40BC-E9375402B351}"/>
          </ac:spMkLst>
        </pc:spChg>
        <pc:spChg chg="add mod">
          <ac:chgData name="Munarriz Herrador Iñaki" userId="11637121-8aee-420b-9db7-54651cb06796" providerId="ADAL" clId="{D346BDBC-FFFB-46A0-8E64-975E5FEF44DF}" dt="2025-06-15T22:14:17.536" v="1348" actId="20577"/>
          <ac:spMkLst>
            <pc:docMk/>
            <pc:sldMk cId="624714175" sldId="2147483408"/>
            <ac:spMk id="4" creationId="{39988BB4-06E3-6293-8A2D-0AB84F48D759}"/>
          </ac:spMkLst>
        </pc:spChg>
        <pc:spChg chg="mod">
          <ac:chgData name="Munarriz Herrador Iñaki" userId="11637121-8aee-420b-9db7-54651cb06796" providerId="ADAL" clId="{D346BDBC-FFFB-46A0-8E64-975E5FEF44DF}" dt="2025-06-15T22:15:11.854" v="1350" actId="113"/>
          <ac:spMkLst>
            <pc:docMk/>
            <pc:sldMk cId="624714175" sldId="2147483408"/>
            <ac:spMk id="6" creationId="{3CB4BC66-102E-75FF-1BC9-F5D37AD3327D}"/>
          </ac:spMkLst>
        </pc:spChg>
        <pc:picChg chg="add mod">
          <ac:chgData name="Munarriz Herrador Iñaki" userId="11637121-8aee-420b-9db7-54651cb06796" providerId="ADAL" clId="{D346BDBC-FFFB-46A0-8E64-975E5FEF44DF}" dt="2025-06-15T22:13:17.868" v="1330" actId="1076"/>
          <ac:picMkLst>
            <pc:docMk/>
            <pc:sldMk cId="624714175" sldId="2147483408"/>
            <ac:picMk id="3074" creationId="{EA197FB6-3CF1-9006-E02D-DE48E9A29E89}"/>
          </ac:picMkLst>
        </pc:picChg>
      </pc:sldChg>
      <pc:sldChg chg="addSp delSp modSp add mod ord">
        <pc:chgData name="Munarriz Herrador Iñaki" userId="11637121-8aee-420b-9db7-54651cb06796" providerId="ADAL" clId="{D346BDBC-FFFB-46A0-8E64-975E5FEF44DF}" dt="2025-06-17T11:28:15.589" v="1848" actId="20577"/>
        <pc:sldMkLst>
          <pc:docMk/>
          <pc:sldMk cId="2428685999" sldId="2147483409"/>
        </pc:sldMkLst>
        <pc:spChg chg="mod">
          <ac:chgData name="Munarriz Herrador Iñaki" userId="11637121-8aee-420b-9db7-54651cb06796" providerId="ADAL" clId="{D346BDBC-FFFB-46A0-8E64-975E5FEF44DF}" dt="2025-06-17T11:28:15.589" v="1848" actId="20577"/>
          <ac:spMkLst>
            <pc:docMk/>
            <pc:sldMk cId="2428685999" sldId="2147483409"/>
            <ac:spMk id="2" creationId="{1175E9BF-D1B2-9907-CED2-A77CA4C8D84B}"/>
          </ac:spMkLst>
        </pc:spChg>
        <pc:picChg chg="add mod">
          <ac:chgData name="Munarriz Herrador Iñaki" userId="11637121-8aee-420b-9db7-54651cb06796" providerId="ADAL" clId="{D346BDBC-FFFB-46A0-8E64-975E5FEF44DF}" dt="2025-06-17T11:27:12.739" v="1837" actId="14100"/>
          <ac:picMkLst>
            <pc:docMk/>
            <pc:sldMk cId="2428685999" sldId="2147483409"/>
            <ac:picMk id="16" creationId="{8C4D929E-267E-F8B4-3AC9-57029A70E4C4}"/>
          </ac:picMkLst>
        </pc:picChg>
        <pc:picChg chg="add mod">
          <ac:chgData name="Munarriz Herrador Iñaki" userId="11637121-8aee-420b-9db7-54651cb06796" providerId="ADAL" clId="{D346BDBC-FFFB-46A0-8E64-975E5FEF44DF}" dt="2025-06-17T11:27:12.739" v="1837" actId="14100"/>
          <ac:picMkLst>
            <pc:docMk/>
            <pc:sldMk cId="2428685999" sldId="2147483409"/>
            <ac:picMk id="18" creationId="{F9E814D9-0884-AFA0-0649-F8FE7114E8AF}"/>
          </ac:picMkLst>
        </pc:picChg>
        <pc:picChg chg="add mod">
          <ac:chgData name="Munarriz Herrador Iñaki" userId="11637121-8aee-420b-9db7-54651cb06796" providerId="ADAL" clId="{D346BDBC-FFFB-46A0-8E64-975E5FEF44DF}" dt="2025-06-17T11:27:12.739" v="1837" actId="14100"/>
          <ac:picMkLst>
            <pc:docMk/>
            <pc:sldMk cId="2428685999" sldId="2147483409"/>
            <ac:picMk id="20" creationId="{5536A8FF-737D-3782-5ADF-73DF4ED9D68C}"/>
          </ac:picMkLst>
        </pc:picChg>
      </pc:sldChg>
      <pc:sldChg chg="addSp delSp modSp add mod">
        <pc:chgData name="Munarriz Herrador Iñaki" userId="11637121-8aee-420b-9db7-54651cb06796" providerId="ADAL" clId="{D346BDBC-FFFB-46A0-8E64-975E5FEF44DF}" dt="2025-06-16T05:54:52.018" v="1587" actId="20577"/>
        <pc:sldMkLst>
          <pc:docMk/>
          <pc:sldMk cId="792640642" sldId="2147483410"/>
        </pc:sldMkLst>
        <pc:spChg chg="mod">
          <ac:chgData name="Munarriz Herrador Iñaki" userId="11637121-8aee-420b-9db7-54651cb06796" providerId="ADAL" clId="{D346BDBC-FFFB-46A0-8E64-975E5FEF44DF}" dt="2025-06-16T05:54:52.018" v="1587" actId="20577"/>
          <ac:spMkLst>
            <pc:docMk/>
            <pc:sldMk cId="792640642" sldId="2147483410"/>
            <ac:spMk id="2" creationId="{CBFFCA18-84D6-0749-58BB-D0C1278D0786}"/>
          </ac:spMkLst>
        </pc:spChg>
        <pc:spChg chg="mod">
          <ac:chgData name="Munarriz Herrador Iñaki" userId="11637121-8aee-420b-9db7-54651cb06796" providerId="ADAL" clId="{D346BDBC-FFFB-46A0-8E64-975E5FEF44DF}" dt="2025-06-15T22:41:12.766" v="1546" actId="20577"/>
          <ac:spMkLst>
            <pc:docMk/>
            <pc:sldMk cId="792640642" sldId="2147483410"/>
            <ac:spMk id="6" creationId="{6FCD5F83-607D-3355-4699-C4DB5EDC461C}"/>
          </ac:spMkLst>
        </pc:spChg>
        <pc:picChg chg="add mod">
          <ac:chgData name="Munarriz Herrador Iñaki" userId="11637121-8aee-420b-9db7-54651cb06796" providerId="ADAL" clId="{D346BDBC-FFFB-46A0-8E64-975E5FEF44DF}" dt="2025-06-15T22:37:07.097" v="1540" actId="14100"/>
          <ac:picMkLst>
            <pc:docMk/>
            <pc:sldMk cId="792640642" sldId="2147483410"/>
            <ac:picMk id="8194" creationId="{2CEE3671-00D1-7A8C-6A82-F425D55DBBC2}"/>
          </ac:picMkLst>
        </pc:picChg>
      </pc:sldChg>
      <pc:sldChg chg="modSp add del mod">
        <pc:chgData name="Munarriz Herrador Iñaki" userId="11637121-8aee-420b-9db7-54651cb06796" providerId="ADAL" clId="{D346BDBC-FFFB-46A0-8E64-975E5FEF44DF}" dt="2025-06-15T22:41:15.340" v="1547" actId="47"/>
        <pc:sldMkLst>
          <pc:docMk/>
          <pc:sldMk cId="3135902622" sldId="2147483411"/>
        </pc:sldMkLst>
      </pc:sldChg>
      <pc:sldChg chg="addSp modSp add mod">
        <pc:chgData name="Munarriz Herrador Iñaki" userId="11637121-8aee-420b-9db7-54651cb06796" providerId="ADAL" clId="{D346BDBC-FFFB-46A0-8E64-975E5FEF44DF}" dt="2025-06-16T14:49:20.895" v="1756" actId="20577"/>
        <pc:sldMkLst>
          <pc:docMk/>
          <pc:sldMk cId="2680299840" sldId="2147483412"/>
        </pc:sldMkLst>
        <pc:spChg chg="mod">
          <ac:chgData name="Munarriz Herrador Iñaki" userId="11637121-8aee-420b-9db7-54651cb06796" providerId="ADAL" clId="{D346BDBC-FFFB-46A0-8E64-975E5FEF44DF}" dt="2025-06-16T05:54:56.446" v="1589" actId="20577"/>
          <ac:spMkLst>
            <pc:docMk/>
            <pc:sldMk cId="2680299840" sldId="2147483412"/>
            <ac:spMk id="2" creationId="{6BAAAA92-AE26-3CEE-8863-8A13A5957D37}"/>
          </ac:spMkLst>
        </pc:spChg>
        <pc:spChg chg="add mod">
          <ac:chgData name="Munarriz Herrador Iñaki" userId="11637121-8aee-420b-9db7-54651cb06796" providerId="ADAL" clId="{D346BDBC-FFFB-46A0-8E64-975E5FEF44DF}" dt="2025-06-15T22:35:30.455" v="1493" actId="14100"/>
          <ac:spMkLst>
            <pc:docMk/>
            <pc:sldMk cId="2680299840" sldId="2147483412"/>
            <ac:spMk id="3" creationId="{C9C33C91-68BD-CC5F-6C25-5DA264F5838A}"/>
          </ac:spMkLst>
        </pc:spChg>
        <pc:spChg chg="mod">
          <ac:chgData name="Munarriz Herrador Iñaki" userId="11637121-8aee-420b-9db7-54651cb06796" providerId="ADAL" clId="{D346BDBC-FFFB-46A0-8E64-975E5FEF44DF}" dt="2025-06-16T14:49:20.895" v="1756" actId="20577"/>
          <ac:spMkLst>
            <pc:docMk/>
            <pc:sldMk cId="2680299840" sldId="2147483412"/>
            <ac:spMk id="6" creationId="{37E37226-D4FE-2646-B352-799C940F8112}"/>
          </ac:spMkLst>
        </pc:spChg>
        <pc:picChg chg="add mod">
          <ac:chgData name="Munarriz Herrador Iñaki" userId="11637121-8aee-420b-9db7-54651cb06796" providerId="ADAL" clId="{D346BDBC-FFFB-46A0-8E64-975E5FEF44DF}" dt="2025-06-15T22:33:22.922" v="1478" actId="14100"/>
          <ac:picMkLst>
            <pc:docMk/>
            <pc:sldMk cId="2680299840" sldId="2147483412"/>
            <ac:picMk id="7170" creationId="{37C9A544-C774-4E92-D8C4-3A9BA61EBD67}"/>
          </ac:picMkLst>
        </pc:picChg>
      </pc:sldChg>
      <pc:sldChg chg="modSp add del mod">
        <pc:chgData name="Munarriz Herrador Iñaki" userId="11637121-8aee-420b-9db7-54651cb06796" providerId="ADAL" clId="{D346BDBC-FFFB-46A0-8E64-975E5FEF44DF}" dt="2025-06-15T22:36:06.170" v="1533" actId="47"/>
        <pc:sldMkLst>
          <pc:docMk/>
          <pc:sldMk cId="774817878" sldId="2147483413"/>
        </pc:sldMkLst>
      </pc:sldChg>
      <pc:sldChg chg="addSp modSp add mod">
        <pc:chgData name="Munarriz Herrador Iñaki" userId="11637121-8aee-420b-9db7-54651cb06796" providerId="ADAL" clId="{D346BDBC-FFFB-46A0-8E64-975E5FEF44DF}" dt="2025-06-16T05:55:02.034" v="1591" actId="20577"/>
        <pc:sldMkLst>
          <pc:docMk/>
          <pc:sldMk cId="1307132154" sldId="2147483414"/>
        </pc:sldMkLst>
        <pc:spChg chg="mod">
          <ac:chgData name="Munarriz Herrador Iñaki" userId="11637121-8aee-420b-9db7-54651cb06796" providerId="ADAL" clId="{D346BDBC-FFFB-46A0-8E64-975E5FEF44DF}" dt="2025-06-16T05:55:02.034" v="1591" actId="20577"/>
          <ac:spMkLst>
            <pc:docMk/>
            <pc:sldMk cId="1307132154" sldId="2147483414"/>
            <ac:spMk id="2" creationId="{1EC62C0A-F689-83FD-AC19-FFB9152B72D7}"/>
          </ac:spMkLst>
        </pc:spChg>
        <pc:spChg chg="add mod">
          <ac:chgData name="Munarriz Herrador Iñaki" userId="11637121-8aee-420b-9db7-54651cb06796" providerId="ADAL" clId="{D346BDBC-FFFB-46A0-8E64-975E5FEF44DF}" dt="2025-06-15T22:36:03.504" v="1532" actId="1036"/>
          <ac:spMkLst>
            <pc:docMk/>
            <pc:sldMk cId="1307132154" sldId="2147483414"/>
            <ac:spMk id="3" creationId="{549A8274-79B5-4B7E-14E8-8B1619E88588}"/>
          </ac:spMkLst>
        </pc:spChg>
        <pc:spChg chg="mod">
          <ac:chgData name="Munarriz Herrador Iñaki" userId="11637121-8aee-420b-9db7-54651cb06796" providerId="ADAL" clId="{D346BDBC-FFFB-46A0-8E64-975E5FEF44DF}" dt="2025-06-15T22:35:57.884" v="1495"/>
          <ac:spMkLst>
            <pc:docMk/>
            <pc:sldMk cId="1307132154" sldId="2147483414"/>
            <ac:spMk id="6" creationId="{722CF754-E136-EDFA-50DC-14E693C76995}"/>
          </ac:spMkLst>
        </pc:spChg>
        <pc:picChg chg="add mod">
          <ac:chgData name="Munarriz Herrador Iñaki" userId="11637121-8aee-420b-9db7-54651cb06796" providerId="ADAL" clId="{D346BDBC-FFFB-46A0-8E64-975E5FEF44DF}" dt="2025-06-15T22:32:04.438" v="1472" actId="14100"/>
          <ac:picMkLst>
            <pc:docMk/>
            <pc:sldMk cId="1307132154" sldId="2147483414"/>
            <ac:picMk id="6146" creationId="{D1635336-2A4D-3A56-ACAA-94A5C4E63F94}"/>
          </ac:picMkLst>
        </pc:picChg>
      </pc:sldChg>
      <pc:sldChg chg="delSp modSp add mod">
        <pc:chgData name="Munarriz Herrador Iñaki" userId="11637121-8aee-420b-9db7-54651cb06796" providerId="ADAL" clId="{D346BDBC-FFFB-46A0-8E64-975E5FEF44DF}" dt="2025-06-17T11:28:46.888" v="1865" actId="20577"/>
        <pc:sldMkLst>
          <pc:docMk/>
          <pc:sldMk cId="17658299" sldId="2147483415"/>
        </pc:sldMkLst>
        <pc:spChg chg="mod">
          <ac:chgData name="Munarriz Herrador Iñaki" userId="11637121-8aee-420b-9db7-54651cb06796" providerId="ADAL" clId="{D346BDBC-FFFB-46A0-8E64-975E5FEF44DF}" dt="2025-06-17T11:28:25.161" v="1856" actId="20577"/>
          <ac:spMkLst>
            <pc:docMk/>
            <pc:sldMk cId="17658299" sldId="2147483415"/>
            <ac:spMk id="2" creationId="{6A3A3BAC-8B63-FE88-8EBA-55E23E04DF68}"/>
          </ac:spMkLst>
        </pc:spChg>
        <pc:spChg chg="mod">
          <ac:chgData name="Munarriz Herrador Iñaki" userId="11637121-8aee-420b-9db7-54651cb06796" providerId="ADAL" clId="{D346BDBC-FFFB-46A0-8E64-975E5FEF44DF}" dt="2025-06-16T14:50:34.709" v="1789" actId="1036"/>
          <ac:spMkLst>
            <pc:docMk/>
            <pc:sldMk cId="17658299" sldId="2147483415"/>
            <ac:spMk id="11" creationId="{591ACA2D-8232-6019-E1A7-60ADA8C1080E}"/>
          </ac:spMkLst>
        </pc:spChg>
        <pc:spChg chg="mod">
          <ac:chgData name="Munarriz Herrador Iñaki" userId="11637121-8aee-420b-9db7-54651cb06796" providerId="ADAL" clId="{D346BDBC-FFFB-46A0-8E64-975E5FEF44DF}" dt="2025-06-16T14:51:02.135" v="1820" actId="207"/>
          <ac:spMkLst>
            <pc:docMk/>
            <pc:sldMk cId="17658299" sldId="2147483415"/>
            <ac:spMk id="12" creationId="{93E60E6D-EA43-22FE-9D59-AA5BB2803CBF}"/>
          </ac:spMkLst>
        </pc:spChg>
        <pc:spChg chg="mod">
          <ac:chgData name="Munarriz Herrador Iñaki" userId="11637121-8aee-420b-9db7-54651cb06796" providerId="ADAL" clId="{D346BDBC-FFFB-46A0-8E64-975E5FEF44DF}" dt="2025-06-16T13:52:14.040" v="1750" actId="123"/>
          <ac:spMkLst>
            <pc:docMk/>
            <pc:sldMk cId="17658299" sldId="2147483415"/>
            <ac:spMk id="13" creationId="{F4C15732-3FC0-91F0-9D75-F7CE7BC43971}"/>
          </ac:spMkLst>
        </pc:spChg>
        <pc:spChg chg="mod">
          <ac:chgData name="Munarriz Herrador Iñaki" userId="11637121-8aee-420b-9db7-54651cb06796" providerId="ADAL" clId="{D346BDBC-FFFB-46A0-8E64-975E5FEF44DF}" dt="2025-06-17T11:28:46.888" v="1865" actId="20577"/>
          <ac:spMkLst>
            <pc:docMk/>
            <pc:sldMk cId="17658299" sldId="2147483415"/>
            <ac:spMk id="14" creationId="{B465FE55-FE87-88F2-6FBC-96F1929EF897}"/>
          </ac:spMkLst>
        </pc:spChg>
      </pc:sldChg>
      <pc:sldChg chg="addSp delSp modSp add mod">
        <pc:chgData name="Munarriz Herrador Iñaki" userId="11637121-8aee-420b-9db7-54651cb06796" providerId="ADAL" clId="{D346BDBC-FFFB-46A0-8E64-975E5FEF44DF}" dt="2025-06-17T15:59:30.453" v="2425" actId="1036"/>
        <pc:sldMkLst>
          <pc:docMk/>
          <pc:sldMk cId="2523228152" sldId="2147483416"/>
        </pc:sldMkLst>
        <pc:spChg chg="mod">
          <ac:chgData name="Munarriz Herrador Iñaki" userId="11637121-8aee-420b-9db7-54651cb06796" providerId="ADAL" clId="{D346BDBC-FFFB-46A0-8E64-975E5FEF44DF}" dt="2025-06-17T14:57:32.122" v="2208" actId="20577"/>
          <ac:spMkLst>
            <pc:docMk/>
            <pc:sldMk cId="2523228152" sldId="2147483416"/>
            <ac:spMk id="2" creationId="{06F95705-6917-1727-A0C6-327AA67DDC36}"/>
          </ac:spMkLst>
        </pc:spChg>
        <pc:spChg chg="mod">
          <ac:chgData name="Munarriz Herrador Iñaki" userId="11637121-8aee-420b-9db7-54651cb06796" providerId="ADAL" clId="{D346BDBC-FFFB-46A0-8E64-975E5FEF44DF}" dt="2025-06-17T15:59:30.453" v="2425" actId="1036"/>
          <ac:spMkLst>
            <pc:docMk/>
            <pc:sldMk cId="2523228152" sldId="2147483416"/>
            <ac:spMk id="6" creationId="{280A4E55-B5B6-7FBE-ABE3-03B386534805}"/>
          </ac:spMkLst>
        </pc:spChg>
      </pc:sldChg>
      <pc:sldChg chg="addSp delSp modSp add mod">
        <pc:chgData name="Munarriz Herrador Iñaki" userId="11637121-8aee-420b-9db7-54651cb06796" providerId="ADAL" clId="{D346BDBC-FFFB-46A0-8E64-975E5FEF44DF}" dt="2025-06-17T15:59:51.871" v="2484" actId="1035"/>
        <pc:sldMkLst>
          <pc:docMk/>
          <pc:sldMk cId="3043515397" sldId="2147483417"/>
        </pc:sldMkLst>
        <pc:spChg chg="mod">
          <ac:chgData name="Munarriz Herrador Iñaki" userId="11637121-8aee-420b-9db7-54651cb06796" providerId="ADAL" clId="{D346BDBC-FFFB-46A0-8E64-975E5FEF44DF}" dt="2025-06-17T14:57:36.302" v="2213" actId="20577"/>
          <ac:spMkLst>
            <pc:docMk/>
            <pc:sldMk cId="3043515397" sldId="2147483417"/>
            <ac:spMk id="2" creationId="{0E7BF7C2-088F-9C37-C263-A28AE238DE78}"/>
          </ac:spMkLst>
        </pc:spChg>
        <pc:spChg chg="add mod">
          <ac:chgData name="Munarriz Herrador Iñaki" userId="11637121-8aee-420b-9db7-54651cb06796" providerId="ADAL" clId="{D346BDBC-FFFB-46A0-8E64-975E5FEF44DF}" dt="2025-06-17T15:59:51.871" v="2484" actId="1035"/>
          <ac:spMkLst>
            <pc:docMk/>
            <pc:sldMk cId="3043515397" sldId="2147483417"/>
            <ac:spMk id="3" creationId="{6D59EFB5-4CA9-3056-229F-344D0E179217}"/>
          </ac:spMkLst>
        </pc:spChg>
        <pc:spChg chg="mod">
          <ac:chgData name="Munarriz Herrador Iñaki" userId="11637121-8aee-420b-9db7-54651cb06796" providerId="ADAL" clId="{D346BDBC-FFFB-46A0-8E64-975E5FEF44DF}" dt="2025-06-17T15:59:45.081" v="2473" actId="554"/>
          <ac:spMkLst>
            <pc:docMk/>
            <pc:sldMk cId="3043515397" sldId="2147483417"/>
            <ac:spMk id="8" creationId="{53AF77B8-5CBB-FC47-ED7C-D3C36F3FEEC4}"/>
          </ac:spMkLst>
        </pc:spChg>
      </pc:sldChg>
    </pc:docChg>
  </pc:docChgLst>
  <pc:docChgLst>
    <pc:chgData name="Munarriz Herrador Iñaki" userId="11637121-8aee-420b-9db7-54651cb06796" providerId="ADAL" clId="{3350B887-55C5-4C6D-9AD1-3AB555665C94}"/>
    <pc:docChg chg="custSel addSld modSld modSection">
      <pc:chgData name="Munarriz Herrador Iñaki" userId="11637121-8aee-420b-9db7-54651cb06796" providerId="ADAL" clId="{3350B887-55C5-4C6D-9AD1-3AB555665C94}" dt="2025-02-17T16:15:04.320" v="46" actId="14100"/>
      <pc:docMkLst>
        <pc:docMk/>
      </pc:docMkLst>
      <pc:sldChg chg="modSp mod">
        <pc:chgData name="Munarriz Herrador Iñaki" userId="11637121-8aee-420b-9db7-54651cb06796" providerId="ADAL" clId="{3350B887-55C5-4C6D-9AD1-3AB555665C94}" dt="2025-02-17T12:01:58.688" v="39" actId="20577"/>
        <pc:sldMkLst>
          <pc:docMk/>
          <pc:sldMk cId="0" sldId="2147483315"/>
        </pc:sldMkLst>
      </pc:sldChg>
      <pc:sldChg chg="addSp delSp modSp add mod">
        <pc:chgData name="Munarriz Herrador Iñaki" userId="11637121-8aee-420b-9db7-54651cb06796" providerId="ADAL" clId="{3350B887-55C5-4C6D-9AD1-3AB555665C94}" dt="2025-02-17T16:15:04.320" v="46" actId="14100"/>
        <pc:sldMkLst>
          <pc:docMk/>
          <pc:sldMk cId="3033939552" sldId="2147483388"/>
        </pc:sldMkLst>
      </pc:sldChg>
    </pc:docChg>
  </pc:docChgLst>
  <pc:docChgLst>
    <pc:chgData name="Munarriz Herrador Iñaki" userId="11637121-8aee-420b-9db7-54651cb06796" providerId="ADAL" clId="{C050DCA4-94CC-4AE4-AC4D-7DC423C906C0}"/>
    <pc:docChg chg="undo redo custSel addSld delSld modSld sldOrd modSection">
      <pc:chgData name="Munarriz Herrador Iñaki" userId="11637121-8aee-420b-9db7-54651cb06796" providerId="ADAL" clId="{C050DCA4-94CC-4AE4-AC4D-7DC423C906C0}" dt="2025-03-19T10:07:35.318" v="10650" actId="1076"/>
      <pc:docMkLst>
        <pc:docMk/>
      </pc:docMkLst>
      <pc:sldChg chg="modSp mod">
        <pc:chgData name="Munarriz Herrador Iñaki" userId="11637121-8aee-420b-9db7-54651cb06796" providerId="ADAL" clId="{C050DCA4-94CC-4AE4-AC4D-7DC423C906C0}" dt="2025-02-21T11:11:57.009" v="95" actId="20577"/>
        <pc:sldMkLst>
          <pc:docMk/>
          <pc:sldMk cId="0" sldId="2147483315"/>
        </pc:sldMkLst>
      </pc:sldChg>
      <pc:sldChg chg="del">
        <pc:chgData name="Munarriz Herrador Iñaki" userId="11637121-8aee-420b-9db7-54651cb06796" providerId="ADAL" clId="{C050DCA4-94CC-4AE4-AC4D-7DC423C906C0}" dt="2025-02-26T16:30:21.688" v="6965" actId="47"/>
        <pc:sldMkLst>
          <pc:docMk/>
          <pc:sldMk cId="88093545" sldId="2147483372"/>
        </pc:sldMkLst>
      </pc:sldChg>
      <pc:sldChg chg="addSp delSp modSp mod">
        <pc:chgData name="Munarriz Herrador Iñaki" userId="11637121-8aee-420b-9db7-54651cb06796" providerId="ADAL" clId="{C050DCA4-94CC-4AE4-AC4D-7DC423C906C0}" dt="2025-03-19T10:07:35.318" v="10650" actId="1076"/>
        <pc:sldMkLst>
          <pc:docMk/>
          <pc:sldMk cId="1243781170" sldId="2147483373"/>
        </pc:sldMkLst>
      </pc:sldChg>
      <pc:sldChg chg="del">
        <pc:chgData name="Munarriz Herrador Iñaki" userId="11637121-8aee-420b-9db7-54651cb06796" providerId="ADAL" clId="{C050DCA4-94CC-4AE4-AC4D-7DC423C906C0}" dt="2025-02-26T16:30:36.174" v="6966" actId="47"/>
        <pc:sldMkLst>
          <pc:docMk/>
          <pc:sldMk cId="3267060004" sldId="2147483374"/>
        </pc:sldMkLst>
      </pc:sldChg>
      <pc:sldChg chg="del">
        <pc:chgData name="Munarriz Herrador Iñaki" userId="11637121-8aee-420b-9db7-54651cb06796" providerId="ADAL" clId="{C050DCA4-94CC-4AE4-AC4D-7DC423C906C0}" dt="2025-02-26T16:30:36.174" v="6966" actId="47"/>
        <pc:sldMkLst>
          <pc:docMk/>
          <pc:sldMk cId="61861682" sldId="2147483375"/>
        </pc:sldMkLst>
      </pc:sldChg>
      <pc:sldChg chg="del">
        <pc:chgData name="Munarriz Herrador Iñaki" userId="11637121-8aee-420b-9db7-54651cb06796" providerId="ADAL" clId="{C050DCA4-94CC-4AE4-AC4D-7DC423C906C0}" dt="2025-02-26T16:30:36.174" v="6966" actId="47"/>
        <pc:sldMkLst>
          <pc:docMk/>
          <pc:sldMk cId="3116799561" sldId="2147483378"/>
        </pc:sldMkLst>
      </pc:sldChg>
      <pc:sldChg chg="addSp delSp modSp mod ord">
        <pc:chgData name="Munarriz Herrador Iñaki" userId="11637121-8aee-420b-9db7-54651cb06796" providerId="ADAL" clId="{C050DCA4-94CC-4AE4-AC4D-7DC423C906C0}" dt="2025-02-27T16:42:15.002" v="10184" actId="14100"/>
        <pc:sldMkLst>
          <pc:docMk/>
          <pc:sldMk cId="2818866366" sldId="2147483379"/>
        </pc:sldMkLst>
      </pc:sldChg>
      <pc:sldChg chg="del">
        <pc:chgData name="Munarriz Herrador Iñaki" userId="11637121-8aee-420b-9db7-54651cb06796" providerId="ADAL" clId="{C050DCA4-94CC-4AE4-AC4D-7DC423C906C0}" dt="2025-02-26T16:30:36.174" v="6966" actId="47"/>
        <pc:sldMkLst>
          <pc:docMk/>
          <pc:sldMk cId="2837213026" sldId="2147483380"/>
        </pc:sldMkLst>
      </pc:sldChg>
      <pc:sldChg chg="del">
        <pc:chgData name="Munarriz Herrador Iñaki" userId="11637121-8aee-420b-9db7-54651cb06796" providerId="ADAL" clId="{C050DCA4-94CC-4AE4-AC4D-7DC423C906C0}" dt="2025-02-26T16:30:36.174" v="6966" actId="47"/>
        <pc:sldMkLst>
          <pc:docMk/>
          <pc:sldMk cId="2100245951" sldId="2147483384"/>
        </pc:sldMkLst>
      </pc:sldChg>
      <pc:sldChg chg="del">
        <pc:chgData name="Munarriz Herrador Iñaki" userId="11637121-8aee-420b-9db7-54651cb06796" providerId="ADAL" clId="{C050DCA4-94CC-4AE4-AC4D-7DC423C906C0}" dt="2025-02-26T16:30:36.174" v="6966" actId="47"/>
        <pc:sldMkLst>
          <pc:docMk/>
          <pc:sldMk cId="2201393827" sldId="2147483386"/>
        </pc:sldMkLst>
      </pc:sldChg>
      <pc:sldChg chg="del">
        <pc:chgData name="Munarriz Herrador Iñaki" userId="11637121-8aee-420b-9db7-54651cb06796" providerId="ADAL" clId="{C050DCA4-94CC-4AE4-AC4D-7DC423C906C0}" dt="2025-02-26T16:30:36.174" v="6966" actId="47"/>
        <pc:sldMkLst>
          <pc:docMk/>
          <pc:sldMk cId="1177571145" sldId="2147483387"/>
        </pc:sldMkLst>
      </pc:sldChg>
      <pc:sldChg chg="addSp delSp modSp mod ord">
        <pc:chgData name="Munarriz Herrador Iñaki" userId="11637121-8aee-420b-9db7-54651cb06796" providerId="ADAL" clId="{C050DCA4-94CC-4AE4-AC4D-7DC423C906C0}" dt="2025-02-27T16:53:47.082" v="10556" actId="12789"/>
        <pc:sldMkLst>
          <pc:docMk/>
          <pc:sldMk cId="3033939552" sldId="2147483388"/>
        </pc:sldMkLst>
      </pc:sldChg>
      <pc:sldChg chg="addSp delSp modSp add mod">
        <pc:chgData name="Munarriz Herrador Iñaki" userId="11637121-8aee-420b-9db7-54651cb06796" providerId="ADAL" clId="{C050DCA4-94CC-4AE4-AC4D-7DC423C906C0}" dt="2025-02-27T15:59:41.673" v="9334" actId="123"/>
        <pc:sldMkLst>
          <pc:docMk/>
          <pc:sldMk cId="937404720" sldId="2147483389"/>
        </pc:sldMkLst>
      </pc:sldChg>
      <pc:sldChg chg="addSp delSp modSp add mod ord">
        <pc:chgData name="Munarriz Herrador Iñaki" userId="11637121-8aee-420b-9db7-54651cb06796" providerId="ADAL" clId="{C050DCA4-94CC-4AE4-AC4D-7DC423C906C0}" dt="2025-02-27T15:59:53.024" v="9336" actId="123"/>
        <pc:sldMkLst>
          <pc:docMk/>
          <pc:sldMk cId="538967907" sldId="2147483390"/>
        </pc:sldMkLst>
      </pc:sldChg>
      <pc:sldChg chg="addSp delSp modSp add mod">
        <pc:chgData name="Munarriz Herrador Iñaki" userId="11637121-8aee-420b-9db7-54651cb06796" providerId="ADAL" clId="{C050DCA4-94CC-4AE4-AC4D-7DC423C906C0}" dt="2025-02-27T15:59:45.894" v="9335" actId="123"/>
        <pc:sldMkLst>
          <pc:docMk/>
          <pc:sldMk cId="2900280720" sldId="2147483391"/>
        </pc:sldMkLst>
      </pc:sldChg>
      <pc:sldChg chg="addSp delSp modSp add mod">
        <pc:chgData name="Munarriz Herrador Iñaki" userId="11637121-8aee-420b-9db7-54651cb06796" providerId="ADAL" clId="{C050DCA4-94CC-4AE4-AC4D-7DC423C906C0}" dt="2025-02-27T15:59:32.666" v="9332" actId="123"/>
        <pc:sldMkLst>
          <pc:docMk/>
          <pc:sldMk cId="2732855569" sldId="2147483392"/>
        </pc:sldMkLst>
      </pc:sldChg>
      <pc:sldChg chg="addSp delSp modSp add mod">
        <pc:chgData name="Munarriz Herrador Iñaki" userId="11637121-8aee-420b-9db7-54651cb06796" providerId="ADAL" clId="{C050DCA4-94CC-4AE4-AC4D-7DC423C906C0}" dt="2025-02-27T16:21:15.418" v="9598" actId="1035"/>
        <pc:sldMkLst>
          <pc:docMk/>
          <pc:sldMk cId="45361350" sldId="2147483393"/>
        </pc:sldMkLst>
      </pc:sldChg>
      <pc:sldChg chg="add">
        <pc:chgData name="Munarriz Herrador Iñaki" userId="11637121-8aee-420b-9db7-54651cb06796" providerId="ADAL" clId="{C050DCA4-94CC-4AE4-AC4D-7DC423C906C0}" dt="2025-03-19T10:06:38.905" v="10557" actId="2890"/>
        <pc:sldMkLst>
          <pc:docMk/>
          <pc:sldMk cId="2930060632" sldId="2147483394"/>
        </pc:sldMkLst>
      </pc:sldChg>
      <pc:sldMasterChg chg="delSldLayout">
        <pc:chgData name="Munarriz Herrador Iñaki" userId="11637121-8aee-420b-9db7-54651cb06796" providerId="ADAL" clId="{C050DCA4-94CC-4AE4-AC4D-7DC423C906C0}" dt="2025-02-26T16:30:21.688" v="6965" actId="47"/>
        <pc:sldMasterMkLst>
          <pc:docMk/>
          <pc:sldMasterMk cId="3682351262" sldId="2147483732"/>
        </pc:sldMasterMkLst>
        <pc:sldLayoutChg chg="del">
          <pc:chgData name="Munarriz Herrador Iñaki" userId="11637121-8aee-420b-9db7-54651cb06796" providerId="ADAL" clId="{C050DCA4-94CC-4AE4-AC4D-7DC423C906C0}" dt="2025-02-26T16:30:21.688" v="6965" actId="47"/>
          <pc:sldLayoutMkLst>
            <pc:docMk/>
            <pc:sldMasterMk cId="3682351262" sldId="2147483732"/>
            <pc:sldLayoutMk cId="4212811066" sldId="214748388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471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4" y="0"/>
            <a:ext cx="2945659" cy="494710"/>
          </a:xfrm>
          <a:prstGeom prst="rect">
            <a:avLst/>
          </a:prstGeom>
        </p:spPr>
        <p:txBody>
          <a:bodyPr vert="horz" lIns="91440" tIns="45720" rIns="91440" bIns="45720" rtlCol="0"/>
          <a:lstStyle>
            <a:lvl1pPr algn="r">
              <a:defRPr sz="1200"/>
            </a:lvl1pPr>
          </a:lstStyle>
          <a:p>
            <a:fld id="{00D52AEF-820C-47F8-88FF-AC482D41B83D}" type="datetimeFigureOut">
              <a:rPr lang="es-ES" smtClean="0"/>
              <a:t>03/07/2025</a:t>
            </a:fld>
            <a:endParaRPr lang="es-ES"/>
          </a:p>
        </p:txBody>
      </p:sp>
      <p:sp>
        <p:nvSpPr>
          <p:cNvPr id="4" name="Marcador de imagen de diapositiva 3"/>
          <p:cNvSpPr>
            <a:spLocks noGrp="1" noRot="1" noChangeAspect="1"/>
          </p:cNvSpPr>
          <p:nvPr>
            <p:ph type="sldImg" idx="2"/>
          </p:nvPr>
        </p:nvSpPr>
        <p:spPr>
          <a:xfrm>
            <a:off x="439738" y="1231900"/>
            <a:ext cx="5918200" cy="3328988"/>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45107"/>
            <a:ext cx="5438140" cy="388236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365255"/>
            <a:ext cx="2945659" cy="494709"/>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4" y="9365255"/>
            <a:ext cx="2945659" cy="494709"/>
          </a:xfrm>
          <a:prstGeom prst="rect">
            <a:avLst/>
          </a:prstGeom>
        </p:spPr>
        <p:txBody>
          <a:bodyPr vert="horz" lIns="91440" tIns="45720" rIns="91440" bIns="45720" rtlCol="0" anchor="b"/>
          <a:lstStyle>
            <a:lvl1pPr algn="r">
              <a:defRPr sz="1200"/>
            </a:lvl1pPr>
          </a:lstStyle>
          <a:p>
            <a:fld id="{8D50380B-E120-4098-ACE4-02CF6992DFB3}" type="slidenum">
              <a:rPr lang="es-ES" smtClean="0"/>
              <a:t>‹Nº›</a:t>
            </a:fld>
            <a:endParaRPr lang="es-ES"/>
          </a:p>
        </p:txBody>
      </p:sp>
    </p:spTree>
    <p:extLst>
      <p:ext uri="{BB962C8B-B14F-4D97-AF65-F5344CB8AC3E}">
        <p14:creationId xmlns:p14="http://schemas.microsoft.com/office/powerpoint/2010/main" val="34206101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33861-C159-FDD5-453E-71DE6E3C152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95DDF9E-1765-2076-E0E9-27A1886F369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2324492-DA30-F161-14A8-A02515CB2EF9}"/>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24FE6C80-91C2-F0A4-6826-9A1502847CEE}"/>
              </a:ext>
            </a:extLst>
          </p:cNvPr>
          <p:cNvSpPr>
            <a:spLocks noGrp="1"/>
          </p:cNvSpPr>
          <p:nvPr>
            <p:ph type="sldNum" sz="quarter" idx="5"/>
          </p:nvPr>
        </p:nvSpPr>
        <p:spPr/>
        <p:txBody>
          <a:bodyPr/>
          <a:lstStyle/>
          <a:p>
            <a:fld id="{8D50380B-E120-4098-ACE4-02CF6992DFB3}" type="slidenum">
              <a:rPr lang="es-ES" smtClean="0"/>
              <a:t>3</a:t>
            </a:fld>
            <a:endParaRPr lang="es-ES"/>
          </a:p>
        </p:txBody>
      </p:sp>
    </p:spTree>
    <p:extLst>
      <p:ext uri="{BB962C8B-B14F-4D97-AF65-F5344CB8AC3E}">
        <p14:creationId xmlns:p14="http://schemas.microsoft.com/office/powerpoint/2010/main" val="3020100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E8BC-432F-5D91-83FC-7989BE567DD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E5D8431-0054-4989-D324-E145EAF6FCE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F5BD94A-2E71-EEAB-06A5-DAE03576FABD}"/>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07F83712-01C0-34A3-0BC0-CCA2819275E9}"/>
              </a:ext>
            </a:extLst>
          </p:cNvPr>
          <p:cNvSpPr>
            <a:spLocks noGrp="1"/>
          </p:cNvSpPr>
          <p:nvPr>
            <p:ph type="sldNum" sz="quarter" idx="5"/>
          </p:nvPr>
        </p:nvSpPr>
        <p:spPr/>
        <p:txBody>
          <a:bodyPr/>
          <a:lstStyle/>
          <a:p>
            <a:fld id="{8D50380B-E120-4098-ACE4-02CF6992DFB3}" type="slidenum">
              <a:rPr lang="es-ES" smtClean="0"/>
              <a:t>12</a:t>
            </a:fld>
            <a:endParaRPr lang="es-ES"/>
          </a:p>
        </p:txBody>
      </p:sp>
    </p:spTree>
    <p:extLst>
      <p:ext uri="{BB962C8B-B14F-4D97-AF65-F5344CB8AC3E}">
        <p14:creationId xmlns:p14="http://schemas.microsoft.com/office/powerpoint/2010/main" val="3294953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F3F71-8B6B-4AF1-3E6D-D65F6B762BC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18F945C-39FB-D904-899D-B734476123C4}"/>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002F7731-832C-3303-6160-5A517BEC7D2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C37178A2-FA36-86E5-4AC4-4A68336499FE}"/>
              </a:ext>
            </a:extLst>
          </p:cNvPr>
          <p:cNvSpPr>
            <a:spLocks noGrp="1"/>
          </p:cNvSpPr>
          <p:nvPr>
            <p:ph type="sldNum" sz="quarter" idx="5"/>
          </p:nvPr>
        </p:nvSpPr>
        <p:spPr/>
        <p:txBody>
          <a:bodyPr/>
          <a:lstStyle/>
          <a:p>
            <a:fld id="{8D50380B-E120-4098-ACE4-02CF6992DFB3}" type="slidenum">
              <a:rPr lang="es-ES" smtClean="0"/>
              <a:t>13</a:t>
            </a:fld>
            <a:endParaRPr lang="es-ES"/>
          </a:p>
        </p:txBody>
      </p:sp>
    </p:spTree>
    <p:extLst>
      <p:ext uri="{BB962C8B-B14F-4D97-AF65-F5344CB8AC3E}">
        <p14:creationId xmlns:p14="http://schemas.microsoft.com/office/powerpoint/2010/main" val="3709792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80465-8EB3-CE1F-E454-849B8DADB00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F9579C4-41DB-993F-6F5E-A1BCE70401C0}"/>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4C794AA1-C74F-2B88-2D07-5805F8B26372}"/>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896BE70D-A2A2-3C9F-F985-6EDD615B8D69}"/>
              </a:ext>
            </a:extLst>
          </p:cNvPr>
          <p:cNvSpPr>
            <a:spLocks noGrp="1"/>
          </p:cNvSpPr>
          <p:nvPr>
            <p:ph type="sldNum" sz="quarter" idx="5"/>
          </p:nvPr>
        </p:nvSpPr>
        <p:spPr/>
        <p:txBody>
          <a:bodyPr/>
          <a:lstStyle/>
          <a:p>
            <a:fld id="{8D50380B-E120-4098-ACE4-02CF6992DFB3}" type="slidenum">
              <a:rPr lang="es-ES" smtClean="0"/>
              <a:t>14</a:t>
            </a:fld>
            <a:endParaRPr lang="es-ES"/>
          </a:p>
        </p:txBody>
      </p:sp>
    </p:spTree>
    <p:extLst>
      <p:ext uri="{BB962C8B-B14F-4D97-AF65-F5344CB8AC3E}">
        <p14:creationId xmlns:p14="http://schemas.microsoft.com/office/powerpoint/2010/main" val="580008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60675-B374-9B13-7D91-BBD85FB265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43ECF5-D835-CF89-40AC-AE36C934FB25}"/>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F3D90875-2192-BB04-48C0-387DE3979903}"/>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C555500-52FE-2038-C0D9-15AA916D2926}"/>
              </a:ext>
            </a:extLst>
          </p:cNvPr>
          <p:cNvSpPr>
            <a:spLocks noGrp="1"/>
          </p:cNvSpPr>
          <p:nvPr>
            <p:ph type="sldNum" sz="quarter" idx="5"/>
          </p:nvPr>
        </p:nvSpPr>
        <p:spPr/>
        <p:txBody>
          <a:bodyPr/>
          <a:lstStyle/>
          <a:p>
            <a:fld id="{8D50380B-E120-4098-ACE4-02CF6992DFB3}" type="slidenum">
              <a:rPr lang="es-ES" smtClean="0"/>
              <a:t>15</a:t>
            </a:fld>
            <a:endParaRPr lang="es-ES"/>
          </a:p>
        </p:txBody>
      </p:sp>
    </p:spTree>
    <p:extLst>
      <p:ext uri="{BB962C8B-B14F-4D97-AF65-F5344CB8AC3E}">
        <p14:creationId xmlns:p14="http://schemas.microsoft.com/office/powerpoint/2010/main" val="2782063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91EB3-056E-F35F-8277-6DA64903AA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EE3905E-6808-4F98-FABD-CA0C988C2824}"/>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F43B02D-9750-D843-12B7-0BED492F5583}"/>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2D78C7C4-05B4-A3A7-D7E8-3B686F83EADE}"/>
              </a:ext>
            </a:extLst>
          </p:cNvPr>
          <p:cNvSpPr>
            <a:spLocks noGrp="1"/>
          </p:cNvSpPr>
          <p:nvPr>
            <p:ph type="sldNum" sz="quarter" idx="5"/>
          </p:nvPr>
        </p:nvSpPr>
        <p:spPr/>
        <p:txBody>
          <a:bodyPr/>
          <a:lstStyle/>
          <a:p>
            <a:fld id="{8D50380B-E120-4098-ACE4-02CF6992DFB3}" type="slidenum">
              <a:rPr lang="es-ES" smtClean="0"/>
              <a:t>16</a:t>
            </a:fld>
            <a:endParaRPr lang="es-ES"/>
          </a:p>
        </p:txBody>
      </p:sp>
    </p:spTree>
    <p:extLst>
      <p:ext uri="{BB962C8B-B14F-4D97-AF65-F5344CB8AC3E}">
        <p14:creationId xmlns:p14="http://schemas.microsoft.com/office/powerpoint/2010/main" val="19623334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C5D-21BC-6E80-B03A-CFE9082634C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4E8DE02-C52D-3C1C-E31B-98CC97A1227F}"/>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F9F910C8-328C-1649-FB7A-6924CE7B0E21}"/>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96C1DA2-113F-83A0-4DFC-4C6AD16E0A47}"/>
              </a:ext>
            </a:extLst>
          </p:cNvPr>
          <p:cNvSpPr>
            <a:spLocks noGrp="1"/>
          </p:cNvSpPr>
          <p:nvPr>
            <p:ph type="sldNum" sz="quarter" idx="5"/>
          </p:nvPr>
        </p:nvSpPr>
        <p:spPr/>
        <p:txBody>
          <a:bodyPr/>
          <a:lstStyle/>
          <a:p>
            <a:fld id="{8D50380B-E120-4098-ACE4-02CF6992DFB3}" type="slidenum">
              <a:rPr lang="es-ES" smtClean="0"/>
              <a:t>17</a:t>
            </a:fld>
            <a:endParaRPr lang="es-ES"/>
          </a:p>
        </p:txBody>
      </p:sp>
    </p:spTree>
    <p:extLst>
      <p:ext uri="{BB962C8B-B14F-4D97-AF65-F5344CB8AC3E}">
        <p14:creationId xmlns:p14="http://schemas.microsoft.com/office/powerpoint/2010/main" val="3368268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34E05-2C3A-42D1-4B8F-0DB7A913D9F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C2C788B-8E72-AF30-5D08-99E9C5491252}"/>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B76F3FF7-4AE7-E0F4-544C-6CFAED60B43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47D0B96-E878-10A1-69BB-EE7636DB588F}"/>
              </a:ext>
            </a:extLst>
          </p:cNvPr>
          <p:cNvSpPr>
            <a:spLocks noGrp="1"/>
          </p:cNvSpPr>
          <p:nvPr>
            <p:ph type="sldNum" sz="quarter" idx="5"/>
          </p:nvPr>
        </p:nvSpPr>
        <p:spPr/>
        <p:txBody>
          <a:bodyPr/>
          <a:lstStyle/>
          <a:p>
            <a:fld id="{8D50380B-E120-4098-ACE4-02CF6992DFB3}" type="slidenum">
              <a:rPr lang="es-ES" smtClean="0"/>
              <a:t>18</a:t>
            </a:fld>
            <a:endParaRPr lang="es-ES"/>
          </a:p>
        </p:txBody>
      </p:sp>
    </p:spTree>
    <p:extLst>
      <p:ext uri="{BB962C8B-B14F-4D97-AF65-F5344CB8AC3E}">
        <p14:creationId xmlns:p14="http://schemas.microsoft.com/office/powerpoint/2010/main" val="2666230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CE95B-B840-D56D-E84D-3B0B71F168E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25D42FD-2311-EF26-99EE-31B3F0AD8D3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B1D91CE-8A81-B6E8-4D17-26215598A6F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0E53E52-7230-1405-F947-66F725B113F3}"/>
              </a:ext>
            </a:extLst>
          </p:cNvPr>
          <p:cNvSpPr>
            <a:spLocks noGrp="1"/>
          </p:cNvSpPr>
          <p:nvPr>
            <p:ph type="sldNum" sz="quarter" idx="5"/>
          </p:nvPr>
        </p:nvSpPr>
        <p:spPr/>
        <p:txBody>
          <a:bodyPr/>
          <a:lstStyle/>
          <a:p>
            <a:fld id="{8D50380B-E120-4098-ACE4-02CF6992DFB3}" type="slidenum">
              <a:rPr lang="es-ES" smtClean="0"/>
              <a:t>4</a:t>
            </a:fld>
            <a:endParaRPr lang="es-ES"/>
          </a:p>
        </p:txBody>
      </p:sp>
    </p:spTree>
    <p:extLst>
      <p:ext uri="{BB962C8B-B14F-4D97-AF65-F5344CB8AC3E}">
        <p14:creationId xmlns:p14="http://schemas.microsoft.com/office/powerpoint/2010/main" val="1452972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29C5C-A253-38EF-4BD4-6FC1DB6923E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B25BD0B-3FE9-09FF-5FA7-50AA103B5FAC}"/>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EDE0598-C03D-1BC6-0C14-849A62B04FA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C89A195A-6F99-3CF2-4F74-8F21C76E1DDB}"/>
              </a:ext>
            </a:extLst>
          </p:cNvPr>
          <p:cNvSpPr>
            <a:spLocks noGrp="1"/>
          </p:cNvSpPr>
          <p:nvPr>
            <p:ph type="sldNum" sz="quarter" idx="5"/>
          </p:nvPr>
        </p:nvSpPr>
        <p:spPr/>
        <p:txBody>
          <a:bodyPr/>
          <a:lstStyle/>
          <a:p>
            <a:fld id="{8D50380B-E120-4098-ACE4-02CF6992DFB3}" type="slidenum">
              <a:rPr lang="es-ES" smtClean="0"/>
              <a:t>5</a:t>
            </a:fld>
            <a:endParaRPr lang="es-ES"/>
          </a:p>
        </p:txBody>
      </p:sp>
    </p:spTree>
    <p:extLst>
      <p:ext uri="{BB962C8B-B14F-4D97-AF65-F5344CB8AC3E}">
        <p14:creationId xmlns:p14="http://schemas.microsoft.com/office/powerpoint/2010/main" val="2551382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B437B-480C-51ED-87A2-B681A411F04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160E343-F440-6EC7-E05B-454ACBB2A6E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155422F-9AC0-1577-3DA2-4DD662ABF217}"/>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7174225-CC3D-D8C6-114E-38855098D0E2}"/>
              </a:ext>
            </a:extLst>
          </p:cNvPr>
          <p:cNvSpPr>
            <a:spLocks noGrp="1"/>
          </p:cNvSpPr>
          <p:nvPr>
            <p:ph type="sldNum" sz="quarter" idx="5"/>
          </p:nvPr>
        </p:nvSpPr>
        <p:spPr/>
        <p:txBody>
          <a:bodyPr/>
          <a:lstStyle/>
          <a:p>
            <a:fld id="{8D50380B-E120-4098-ACE4-02CF6992DFB3}" type="slidenum">
              <a:rPr lang="es-ES" smtClean="0"/>
              <a:t>6</a:t>
            </a:fld>
            <a:endParaRPr lang="es-ES"/>
          </a:p>
        </p:txBody>
      </p:sp>
    </p:spTree>
    <p:extLst>
      <p:ext uri="{BB962C8B-B14F-4D97-AF65-F5344CB8AC3E}">
        <p14:creationId xmlns:p14="http://schemas.microsoft.com/office/powerpoint/2010/main" val="1749267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0D297-7497-90C6-2BE7-B4F5BCD49E7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1322CE4-E727-3C69-F816-C77DB37F030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ECE9E85-BF13-B129-B510-6390B0AD8EAD}"/>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F817536-E7DA-474F-1967-579418CD1FD5}"/>
              </a:ext>
            </a:extLst>
          </p:cNvPr>
          <p:cNvSpPr>
            <a:spLocks noGrp="1"/>
          </p:cNvSpPr>
          <p:nvPr>
            <p:ph type="sldNum" sz="quarter" idx="5"/>
          </p:nvPr>
        </p:nvSpPr>
        <p:spPr/>
        <p:txBody>
          <a:bodyPr/>
          <a:lstStyle/>
          <a:p>
            <a:fld id="{8D50380B-E120-4098-ACE4-02CF6992DFB3}" type="slidenum">
              <a:rPr lang="es-ES" smtClean="0"/>
              <a:t>7</a:t>
            </a:fld>
            <a:endParaRPr lang="es-ES"/>
          </a:p>
        </p:txBody>
      </p:sp>
    </p:spTree>
    <p:extLst>
      <p:ext uri="{BB962C8B-B14F-4D97-AF65-F5344CB8AC3E}">
        <p14:creationId xmlns:p14="http://schemas.microsoft.com/office/powerpoint/2010/main" val="268815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55D60-5787-F209-CE63-9E88D5F456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508C2F0-52F8-7F70-E2F2-B7DA82FA96BC}"/>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96B7D2F3-EE91-4FC5-6BD3-30D94B53730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6E99259-0786-0971-259F-A3EBA7E30E15}"/>
              </a:ext>
            </a:extLst>
          </p:cNvPr>
          <p:cNvSpPr>
            <a:spLocks noGrp="1"/>
          </p:cNvSpPr>
          <p:nvPr>
            <p:ph type="sldNum" sz="quarter" idx="5"/>
          </p:nvPr>
        </p:nvSpPr>
        <p:spPr/>
        <p:txBody>
          <a:bodyPr/>
          <a:lstStyle/>
          <a:p>
            <a:fld id="{8D50380B-E120-4098-ACE4-02CF6992DFB3}" type="slidenum">
              <a:rPr lang="es-ES" smtClean="0"/>
              <a:t>8</a:t>
            </a:fld>
            <a:endParaRPr lang="es-ES"/>
          </a:p>
        </p:txBody>
      </p:sp>
    </p:spTree>
    <p:extLst>
      <p:ext uri="{BB962C8B-B14F-4D97-AF65-F5344CB8AC3E}">
        <p14:creationId xmlns:p14="http://schemas.microsoft.com/office/powerpoint/2010/main" val="4147491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9F71E-71BA-762B-BFB2-58A99D589D9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26ED110-F7D0-B45C-27FA-235FE9E1B474}"/>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9E4D59BB-78DC-5BA4-2D96-33FDEF1456B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F793C372-742A-3C7B-7003-6FC98D4247D8}"/>
              </a:ext>
            </a:extLst>
          </p:cNvPr>
          <p:cNvSpPr>
            <a:spLocks noGrp="1"/>
          </p:cNvSpPr>
          <p:nvPr>
            <p:ph type="sldNum" sz="quarter" idx="5"/>
          </p:nvPr>
        </p:nvSpPr>
        <p:spPr/>
        <p:txBody>
          <a:bodyPr/>
          <a:lstStyle/>
          <a:p>
            <a:fld id="{8D50380B-E120-4098-ACE4-02CF6992DFB3}" type="slidenum">
              <a:rPr lang="es-ES" smtClean="0"/>
              <a:t>9</a:t>
            </a:fld>
            <a:endParaRPr lang="es-ES"/>
          </a:p>
        </p:txBody>
      </p:sp>
    </p:spTree>
    <p:extLst>
      <p:ext uri="{BB962C8B-B14F-4D97-AF65-F5344CB8AC3E}">
        <p14:creationId xmlns:p14="http://schemas.microsoft.com/office/powerpoint/2010/main" val="256007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BBA41-F6F0-1391-1127-D08A47E23BE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7B0A8B-15BC-B605-ACBD-62A108FD03FF}"/>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9657D8BD-AC91-A227-F58D-4D57178A86D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053629C0-C9F6-8197-D0F5-E059402AFF7F}"/>
              </a:ext>
            </a:extLst>
          </p:cNvPr>
          <p:cNvSpPr>
            <a:spLocks noGrp="1"/>
          </p:cNvSpPr>
          <p:nvPr>
            <p:ph type="sldNum" sz="quarter" idx="5"/>
          </p:nvPr>
        </p:nvSpPr>
        <p:spPr/>
        <p:txBody>
          <a:bodyPr/>
          <a:lstStyle/>
          <a:p>
            <a:fld id="{8D50380B-E120-4098-ACE4-02CF6992DFB3}" type="slidenum">
              <a:rPr lang="es-ES" smtClean="0"/>
              <a:t>10</a:t>
            </a:fld>
            <a:endParaRPr lang="es-ES"/>
          </a:p>
        </p:txBody>
      </p:sp>
    </p:spTree>
    <p:extLst>
      <p:ext uri="{BB962C8B-B14F-4D97-AF65-F5344CB8AC3E}">
        <p14:creationId xmlns:p14="http://schemas.microsoft.com/office/powerpoint/2010/main" val="1453052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D0122-D104-3077-4F53-F615EC748CC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A5A69D2-1DAF-20F6-E7BB-CA2AAAC6989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B732B232-F48D-37AF-EFF6-EAB1E22C9F5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128A3F1-D6E8-A23B-C292-D0CB526FB6F7}"/>
              </a:ext>
            </a:extLst>
          </p:cNvPr>
          <p:cNvSpPr>
            <a:spLocks noGrp="1"/>
          </p:cNvSpPr>
          <p:nvPr>
            <p:ph type="sldNum" sz="quarter" idx="5"/>
          </p:nvPr>
        </p:nvSpPr>
        <p:spPr/>
        <p:txBody>
          <a:bodyPr/>
          <a:lstStyle/>
          <a:p>
            <a:fld id="{8D50380B-E120-4098-ACE4-02CF6992DFB3}" type="slidenum">
              <a:rPr lang="es-ES" smtClean="0"/>
              <a:t>11</a:t>
            </a:fld>
            <a:endParaRPr lang="es-ES"/>
          </a:p>
        </p:txBody>
      </p:sp>
    </p:spTree>
    <p:extLst>
      <p:ext uri="{BB962C8B-B14F-4D97-AF65-F5344CB8AC3E}">
        <p14:creationId xmlns:p14="http://schemas.microsoft.com/office/powerpoint/2010/main" val="672123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01">
    <p:spTree>
      <p:nvGrpSpPr>
        <p:cNvPr id="1" name=""/>
        <p:cNvGrpSpPr/>
        <p:nvPr/>
      </p:nvGrpSpPr>
      <p:grpSpPr>
        <a:xfrm>
          <a:off x="0" y="0"/>
          <a:ext cx="0" cy="0"/>
          <a:chOff x="0" y="0"/>
          <a:chExt cx="0" cy="0"/>
        </a:xfrm>
      </p:grpSpPr>
      <p:pic>
        <p:nvPicPr>
          <p:cNvPr id="11" name="Imagen 10" descr="Persona en bicicleta en la calle&#10;&#10;Descripción generada automáticamente">
            <a:extLst>
              <a:ext uri="{FF2B5EF4-FFF2-40B4-BE49-F238E27FC236}">
                <a16:creationId xmlns:a16="http://schemas.microsoft.com/office/drawing/2014/main" id="{4267E86C-51F4-46D7-B611-7A1D08C948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64675" y="0"/>
            <a:ext cx="8013192" cy="6858000"/>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7" name="Título 1">
            <a:extLst>
              <a:ext uri="{FF2B5EF4-FFF2-40B4-BE49-F238E27FC236}">
                <a16:creationId xmlns:a16="http://schemas.microsoft.com/office/drawing/2014/main" id="{FBDFF754-EDB8-4E81-BCD5-E07138795009}"/>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8" name="Subtítulo 2">
            <a:extLst>
              <a:ext uri="{FF2B5EF4-FFF2-40B4-BE49-F238E27FC236}">
                <a16:creationId xmlns:a16="http://schemas.microsoft.com/office/drawing/2014/main" id="{A6D070AE-1992-4212-B9A7-D33AB83D5A45}"/>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3" name="Gráfico 12">
            <a:extLst>
              <a:ext uri="{FF2B5EF4-FFF2-40B4-BE49-F238E27FC236}">
                <a16:creationId xmlns:a16="http://schemas.microsoft.com/office/drawing/2014/main" id="{3D412860-04C7-46B9-BE93-8051E5FC02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167805477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dex_05">
    <p:spTree>
      <p:nvGrpSpPr>
        <p:cNvPr id="1" name=""/>
        <p:cNvGrpSpPr/>
        <p:nvPr/>
      </p:nvGrpSpPr>
      <p:grpSpPr>
        <a:xfrm>
          <a:off x="0" y="0"/>
          <a:ext cx="0" cy="0"/>
          <a:chOff x="0" y="0"/>
          <a:chExt cx="0" cy="0"/>
        </a:xfrm>
      </p:grpSpPr>
      <p:pic>
        <p:nvPicPr>
          <p:cNvPr id="4" name="Imagen 3" descr="Una persona hablando por teléfono en la calle&#10;&#10;Descripción generada automáticamente con confianza baja">
            <a:extLst>
              <a:ext uri="{FF2B5EF4-FFF2-40B4-BE49-F238E27FC236}">
                <a16:creationId xmlns:a16="http://schemas.microsoft.com/office/drawing/2014/main" id="{4941AD11-3321-4750-AD4C-93EA9F742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65369" y="875626"/>
            <a:ext cx="6226631" cy="5982374"/>
          </a:xfrm>
          <a:prstGeom prst="rect">
            <a:avLst/>
          </a:prstGeom>
        </p:spPr>
      </p:pic>
      <p:cxnSp>
        <p:nvCxnSpPr>
          <p:cNvPr id="3" name="Conector recto 2">
            <a:extLst>
              <a:ext uri="{FF2B5EF4-FFF2-40B4-BE49-F238E27FC236}">
                <a16:creationId xmlns:a16="http://schemas.microsoft.com/office/drawing/2014/main" id="{379A0E88-5C43-43D5-9A31-7B355FD4C632}"/>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E756615C-F2F6-4E87-8FE8-9CE4D51C239F}"/>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8456"/>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rase_Impact_01">
    <p:spTree>
      <p:nvGrpSpPr>
        <p:cNvPr id="1" name=""/>
        <p:cNvGrpSpPr/>
        <p:nvPr/>
      </p:nvGrpSpPr>
      <p:grpSpPr>
        <a:xfrm>
          <a:off x="0" y="0"/>
          <a:ext cx="0" cy="0"/>
          <a:chOff x="0" y="0"/>
          <a:chExt cx="0" cy="0"/>
        </a:xfrm>
      </p:grpSpPr>
      <p:pic>
        <p:nvPicPr>
          <p:cNvPr id="5" name="Imagen 4" descr="Persona en bicicleta en la calle&#10;&#10;Descripción generada automáticamente">
            <a:extLst>
              <a:ext uri="{FF2B5EF4-FFF2-40B4-BE49-F238E27FC236}">
                <a16:creationId xmlns:a16="http://schemas.microsoft.com/office/drawing/2014/main" id="{2BB35CB8-2843-4486-AF30-CC8D6B22DE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35"/>
          <a:stretch/>
        </p:blipFill>
        <p:spPr>
          <a:xfrm>
            <a:off x="-1" y="653143"/>
            <a:ext cx="12191999" cy="6204857"/>
          </a:xfrm>
          <a:prstGeom prst="rect">
            <a:avLst/>
          </a:prstGeom>
        </p:spPr>
      </p:pic>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915027"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293938640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rase_Impact_01 lines">
    <p:spTree>
      <p:nvGrpSpPr>
        <p:cNvPr id="1" name=""/>
        <p:cNvGrpSpPr/>
        <p:nvPr/>
      </p:nvGrpSpPr>
      <p:grpSpPr>
        <a:xfrm>
          <a:off x="0" y="0"/>
          <a:ext cx="0" cy="0"/>
          <a:chOff x="0" y="0"/>
          <a:chExt cx="0" cy="0"/>
        </a:xfrm>
      </p:grpSpPr>
      <p:pic>
        <p:nvPicPr>
          <p:cNvPr id="5" name="Imagen 4" descr="Persona en bicicleta en la calle&#10;&#10;Descripción generada automáticamente">
            <a:extLst>
              <a:ext uri="{FF2B5EF4-FFF2-40B4-BE49-F238E27FC236}">
                <a16:creationId xmlns:a16="http://schemas.microsoft.com/office/drawing/2014/main" id="{2BB35CB8-2843-4486-AF30-CC8D6B22DE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35"/>
          <a:stretch/>
        </p:blipFill>
        <p:spPr>
          <a:xfrm>
            <a:off x="-1" y="653143"/>
            <a:ext cx="12191999" cy="6204857"/>
          </a:xfrm>
          <a:prstGeom prst="rect">
            <a:avLst/>
          </a:prstGeom>
        </p:spPr>
      </p:pic>
      <p:cxnSp>
        <p:nvCxnSpPr>
          <p:cNvPr id="6" name="Conector recto 5">
            <a:extLst>
              <a:ext uri="{FF2B5EF4-FFF2-40B4-BE49-F238E27FC236}">
                <a16:creationId xmlns:a16="http://schemas.microsoft.com/office/drawing/2014/main" id="{EB20E1A8-28A8-4DD8-95F7-3AF0547DBAC0}"/>
              </a:ext>
            </a:extLst>
          </p:cNvPr>
          <p:cNvCxnSpPr>
            <a:cxnSpLocks/>
          </p:cNvCxnSpPr>
          <p:nvPr userDrawn="1"/>
        </p:nvCxnSpPr>
        <p:spPr>
          <a:xfrm>
            <a:off x="2274570" y="260032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5033C59A-0EF0-4472-BD1A-A1A51660E922}"/>
              </a:ext>
            </a:extLst>
          </p:cNvPr>
          <p:cNvCxnSpPr>
            <a:cxnSpLocks/>
          </p:cNvCxnSpPr>
          <p:nvPr userDrawn="1"/>
        </p:nvCxnSpPr>
        <p:spPr>
          <a:xfrm>
            <a:off x="6106632" y="214914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25BF70F4-0781-44A8-91C3-F85682BB1C98}"/>
              </a:ext>
            </a:extLst>
          </p:cNvPr>
          <p:cNvSpPr>
            <a:spLocks noGrp="1"/>
          </p:cNvSpPr>
          <p:nvPr>
            <p:ph type="body" sz="quarter" idx="48" hasCustomPrompt="1"/>
          </p:nvPr>
        </p:nvSpPr>
        <p:spPr>
          <a:xfrm>
            <a:off x="6298969" y="142826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9" name="Marcador de texto 4">
            <a:extLst>
              <a:ext uri="{FF2B5EF4-FFF2-40B4-BE49-F238E27FC236}">
                <a16:creationId xmlns:a16="http://schemas.microsoft.com/office/drawing/2014/main" id="{E82900D6-E4AB-494C-AAC5-EC6B37620D36}"/>
              </a:ext>
            </a:extLst>
          </p:cNvPr>
          <p:cNvSpPr>
            <a:spLocks noGrp="1"/>
          </p:cNvSpPr>
          <p:nvPr>
            <p:ph type="body" sz="quarter" idx="49" hasCustomPrompt="1"/>
          </p:nvPr>
        </p:nvSpPr>
        <p:spPr>
          <a:xfrm>
            <a:off x="2270719" y="188132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145731557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rase_Impact_02">
    <p:spTree>
      <p:nvGrpSpPr>
        <p:cNvPr id="1" name=""/>
        <p:cNvGrpSpPr/>
        <p:nvPr/>
      </p:nvGrpSpPr>
      <p:grpSpPr>
        <a:xfrm>
          <a:off x="0" y="0"/>
          <a:ext cx="0" cy="0"/>
          <a:chOff x="0" y="0"/>
          <a:chExt cx="0" cy="0"/>
        </a:xfrm>
      </p:grpSpPr>
      <p:pic>
        <p:nvPicPr>
          <p:cNvPr id="8" name="Imagen 7" descr="Imagen digital de una ciudad&#10;&#10;Descripción generada automáticamente">
            <a:extLst>
              <a:ext uri="{FF2B5EF4-FFF2-40B4-BE49-F238E27FC236}">
                <a16:creationId xmlns:a16="http://schemas.microsoft.com/office/drawing/2014/main" id="{4BCEBA49-858A-42E6-84C6-24CD5438A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53144"/>
            <a:ext cx="12192000" cy="6204856"/>
          </a:xfrm>
          <a:prstGeom prst="rect">
            <a:avLst/>
          </a:prstGeom>
        </p:spPr>
      </p:pic>
      <p:sp>
        <p:nvSpPr>
          <p:cNvPr id="9" name="Rectángulo 8">
            <a:extLst>
              <a:ext uri="{FF2B5EF4-FFF2-40B4-BE49-F238E27FC236}">
                <a16:creationId xmlns:a16="http://schemas.microsoft.com/office/drawing/2014/main" id="{3CEAE61F-DDB5-4ABF-B102-CA4BBBDB3979}"/>
              </a:ext>
            </a:extLst>
          </p:cNvPr>
          <p:cNvSpPr/>
          <p:nvPr userDrawn="1"/>
        </p:nvSpPr>
        <p:spPr>
          <a:xfrm>
            <a:off x="1" y="653143"/>
            <a:ext cx="12054840" cy="6204857"/>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881573"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213459913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rase_Impact_02 lines">
    <p:spTree>
      <p:nvGrpSpPr>
        <p:cNvPr id="1" name=""/>
        <p:cNvGrpSpPr/>
        <p:nvPr/>
      </p:nvGrpSpPr>
      <p:grpSpPr>
        <a:xfrm>
          <a:off x="0" y="0"/>
          <a:ext cx="0" cy="0"/>
          <a:chOff x="0" y="0"/>
          <a:chExt cx="0" cy="0"/>
        </a:xfrm>
      </p:grpSpPr>
      <p:pic>
        <p:nvPicPr>
          <p:cNvPr id="8" name="Imagen 7" descr="Imagen digital de una ciudad&#10;&#10;Descripción generada automáticamente">
            <a:extLst>
              <a:ext uri="{FF2B5EF4-FFF2-40B4-BE49-F238E27FC236}">
                <a16:creationId xmlns:a16="http://schemas.microsoft.com/office/drawing/2014/main" id="{4BCEBA49-858A-42E6-84C6-24CD5438A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53144"/>
            <a:ext cx="12192000" cy="6204856"/>
          </a:xfrm>
          <a:prstGeom prst="rect">
            <a:avLst/>
          </a:prstGeom>
        </p:spPr>
      </p:pic>
      <p:sp>
        <p:nvSpPr>
          <p:cNvPr id="9" name="Rectángulo 8">
            <a:extLst>
              <a:ext uri="{FF2B5EF4-FFF2-40B4-BE49-F238E27FC236}">
                <a16:creationId xmlns:a16="http://schemas.microsoft.com/office/drawing/2014/main" id="{3CEAE61F-DDB5-4ABF-B102-CA4BBBDB3979}"/>
              </a:ext>
            </a:extLst>
          </p:cNvPr>
          <p:cNvSpPr/>
          <p:nvPr userDrawn="1"/>
        </p:nvSpPr>
        <p:spPr>
          <a:xfrm>
            <a:off x="1" y="653143"/>
            <a:ext cx="12054840" cy="6204857"/>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 name="Conector recto 5">
            <a:extLst>
              <a:ext uri="{FF2B5EF4-FFF2-40B4-BE49-F238E27FC236}">
                <a16:creationId xmlns:a16="http://schemas.microsoft.com/office/drawing/2014/main" id="{089E0271-1DC5-46FF-A5C8-07A126914C9F}"/>
              </a:ext>
            </a:extLst>
          </p:cNvPr>
          <p:cNvCxnSpPr>
            <a:cxnSpLocks/>
          </p:cNvCxnSpPr>
          <p:nvPr userDrawn="1"/>
        </p:nvCxnSpPr>
        <p:spPr>
          <a:xfrm>
            <a:off x="2274570" y="414972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0DF1C767-A900-4681-ABA3-69A761A66323}"/>
              </a:ext>
            </a:extLst>
          </p:cNvPr>
          <p:cNvCxnSpPr>
            <a:cxnSpLocks/>
          </p:cNvCxnSpPr>
          <p:nvPr userDrawn="1"/>
        </p:nvCxnSpPr>
        <p:spPr>
          <a:xfrm>
            <a:off x="6106632" y="369854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Marcador de texto 4">
            <a:extLst>
              <a:ext uri="{FF2B5EF4-FFF2-40B4-BE49-F238E27FC236}">
                <a16:creationId xmlns:a16="http://schemas.microsoft.com/office/drawing/2014/main" id="{031D0E45-B2D2-49E2-A9BA-7B97F1F49619}"/>
              </a:ext>
            </a:extLst>
          </p:cNvPr>
          <p:cNvSpPr>
            <a:spLocks noGrp="1"/>
          </p:cNvSpPr>
          <p:nvPr>
            <p:ph type="body" sz="quarter" idx="48" hasCustomPrompt="1"/>
          </p:nvPr>
        </p:nvSpPr>
        <p:spPr>
          <a:xfrm>
            <a:off x="6298969" y="297766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1" name="Marcador de texto 4">
            <a:extLst>
              <a:ext uri="{FF2B5EF4-FFF2-40B4-BE49-F238E27FC236}">
                <a16:creationId xmlns:a16="http://schemas.microsoft.com/office/drawing/2014/main" id="{DCA016D0-3D0E-4F0F-AF8A-E490F196E154}"/>
              </a:ext>
            </a:extLst>
          </p:cNvPr>
          <p:cNvSpPr>
            <a:spLocks noGrp="1"/>
          </p:cNvSpPr>
          <p:nvPr>
            <p:ph type="body" sz="quarter" idx="49" hasCustomPrompt="1"/>
          </p:nvPr>
        </p:nvSpPr>
        <p:spPr>
          <a:xfrm>
            <a:off x="2270719" y="343072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404992733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rase_Impact_03">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Haga clic para añadir el título</a:t>
            </a:r>
          </a:p>
        </p:txBody>
      </p:sp>
      <p:pic>
        <p:nvPicPr>
          <p:cNvPr id="6" name="Imagen 5" descr="Imagen que contiene verde, alfombra&#10;&#10;Descripción generada automáticamente">
            <a:extLst>
              <a:ext uri="{FF2B5EF4-FFF2-40B4-BE49-F238E27FC236}">
                <a16:creationId xmlns:a16="http://schemas.microsoft.com/office/drawing/2014/main" id="{B329B0B3-F50C-4F37-81EB-EADF1926A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4"/>
            <a:ext cx="12191999" cy="6204856"/>
          </a:xfrm>
          <a:prstGeom prst="rect">
            <a:avLst/>
          </a:prstGeom>
        </p:spPr>
      </p:pic>
      <p:sp>
        <p:nvSpPr>
          <p:cNvPr id="7" name="Rectángulo 6">
            <a:extLst>
              <a:ext uri="{FF2B5EF4-FFF2-40B4-BE49-F238E27FC236}">
                <a16:creationId xmlns:a16="http://schemas.microsoft.com/office/drawing/2014/main" id="{A8698D3F-0FC7-4C98-9D9B-AE90BA8B1C44}"/>
              </a:ext>
            </a:extLst>
          </p:cNvPr>
          <p:cNvSpPr/>
          <p:nvPr userDrawn="1"/>
        </p:nvSpPr>
        <p:spPr>
          <a:xfrm>
            <a:off x="-1" y="653144"/>
            <a:ext cx="11978641" cy="6204856"/>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5" name="Marcador de texto 4">
            <a:extLst>
              <a:ext uri="{FF2B5EF4-FFF2-40B4-BE49-F238E27FC236}">
                <a16:creationId xmlns:a16="http://schemas.microsoft.com/office/drawing/2014/main" id="{95C17B94-B74F-4A90-82A5-28ED96009B87}"/>
              </a:ext>
            </a:extLst>
          </p:cNvPr>
          <p:cNvSpPr>
            <a:spLocks noGrp="1"/>
          </p:cNvSpPr>
          <p:nvPr>
            <p:ph type="body" sz="quarter" idx="48" hasCustomPrompt="1"/>
          </p:nvPr>
        </p:nvSpPr>
        <p:spPr>
          <a:xfrm>
            <a:off x="423862" y="2522346"/>
            <a:ext cx="1739475"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
        <p:nvSpPr>
          <p:cNvPr id="2" name="Título 1">
            <a:extLst>
              <a:ext uri="{FF2B5EF4-FFF2-40B4-BE49-F238E27FC236}">
                <a16:creationId xmlns:a16="http://schemas.microsoft.com/office/drawing/2014/main" id="{E6C91F74-2137-4971-AF7A-BC83AE1C7607}"/>
              </a:ext>
            </a:extLst>
          </p:cNvPr>
          <p:cNvSpPr>
            <a:spLocks noGrp="1"/>
          </p:cNvSpPr>
          <p:nvPr>
            <p:ph type="title" hasCustomPrompt="1"/>
          </p:nvPr>
        </p:nvSpPr>
        <p:spPr>
          <a:xfrm>
            <a:off x="423863" y="1471142"/>
            <a:ext cx="2015389" cy="1051204"/>
          </a:xfrm>
          <a:prstGeom prst="rect">
            <a:avLst/>
          </a:prstGeom>
        </p:spPr>
        <p:txBody>
          <a:bodyPr/>
          <a:lstStyle>
            <a:lvl1pPr marL="0" algn="l" defTabSz="742950" rtl="0" eaLnBrk="1" latinLnBrk="0" hangingPunct="1">
              <a:lnSpc>
                <a:spcPct val="90000"/>
              </a:lnSpc>
              <a:spcBef>
                <a:spcPct val="0"/>
              </a:spcBef>
              <a:buNone/>
              <a:defRPr lang="es-ES" sz="3200" kern="1200" dirty="0">
                <a:solidFill>
                  <a:schemeClr val="bg1"/>
                </a:solidFill>
                <a:latin typeface="Santander Headline" panose="020B0504020201020104" pitchFamily="34" charset="0"/>
                <a:ea typeface="+mj-ea"/>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405467488"/>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rase_Impact_03 lines">
    <p:spTree>
      <p:nvGrpSpPr>
        <p:cNvPr id="1" name=""/>
        <p:cNvGrpSpPr/>
        <p:nvPr/>
      </p:nvGrpSpPr>
      <p:grpSpPr>
        <a:xfrm>
          <a:off x="0" y="0"/>
          <a:ext cx="0" cy="0"/>
          <a:chOff x="0" y="0"/>
          <a:chExt cx="0" cy="0"/>
        </a:xfrm>
      </p:grpSpPr>
      <p:pic>
        <p:nvPicPr>
          <p:cNvPr id="6" name="Imagen 5" descr="Imagen que contiene verde, alfombra&#10;&#10;Descripción generada automáticamente">
            <a:extLst>
              <a:ext uri="{FF2B5EF4-FFF2-40B4-BE49-F238E27FC236}">
                <a16:creationId xmlns:a16="http://schemas.microsoft.com/office/drawing/2014/main" id="{B329B0B3-F50C-4F37-81EB-EADF1926A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4"/>
            <a:ext cx="12191999" cy="6204856"/>
          </a:xfrm>
          <a:prstGeom prst="rect">
            <a:avLst/>
          </a:prstGeom>
        </p:spPr>
      </p:pic>
      <p:sp>
        <p:nvSpPr>
          <p:cNvPr id="7" name="Rectángulo 6">
            <a:extLst>
              <a:ext uri="{FF2B5EF4-FFF2-40B4-BE49-F238E27FC236}">
                <a16:creationId xmlns:a16="http://schemas.microsoft.com/office/drawing/2014/main" id="{A8698D3F-0FC7-4C98-9D9B-AE90BA8B1C44}"/>
              </a:ext>
            </a:extLst>
          </p:cNvPr>
          <p:cNvSpPr/>
          <p:nvPr userDrawn="1"/>
        </p:nvSpPr>
        <p:spPr>
          <a:xfrm>
            <a:off x="-1" y="653144"/>
            <a:ext cx="11978641" cy="6204856"/>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9" name="Conector recto 8">
            <a:extLst>
              <a:ext uri="{FF2B5EF4-FFF2-40B4-BE49-F238E27FC236}">
                <a16:creationId xmlns:a16="http://schemas.microsoft.com/office/drawing/2014/main" id="{0C09614A-53B9-4A61-84A7-859FB3707A5A}"/>
              </a:ext>
            </a:extLst>
          </p:cNvPr>
          <p:cNvCxnSpPr>
            <a:cxnSpLocks/>
          </p:cNvCxnSpPr>
          <p:nvPr userDrawn="1"/>
        </p:nvCxnSpPr>
        <p:spPr>
          <a:xfrm>
            <a:off x="2274570" y="383476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72E13198-EF88-4783-926A-8BB8AE962ED5}"/>
              </a:ext>
            </a:extLst>
          </p:cNvPr>
          <p:cNvCxnSpPr>
            <a:cxnSpLocks/>
          </p:cNvCxnSpPr>
          <p:nvPr userDrawn="1"/>
        </p:nvCxnSpPr>
        <p:spPr>
          <a:xfrm>
            <a:off x="6106632" y="338358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Marcador de texto 4">
            <a:extLst>
              <a:ext uri="{FF2B5EF4-FFF2-40B4-BE49-F238E27FC236}">
                <a16:creationId xmlns:a16="http://schemas.microsoft.com/office/drawing/2014/main" id="{2E8BE9B3-F3A3-4B21-AE5B-F5319D210B19}"/>
              </a:ext>
            </a:extLst>
          </p:cNvPr>
          <p:cNvSpPr>
            <a:spLocks noGrp="1"/>
          </p:cNvSpPr>
          <p:nvPr>
            <p:ph type="body" sz="quarter" idx="49" hasCustomPrompt="1"/>
          </p:nvPr>
        </p:nvSpPr>
        <p:spPr>
          <a:xfrm>
            <a:off x="6298969" y="266270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2" name="Marcador de texto 4">
            <a:extLst>
              <a:ext uri="{FF2B5EF4-FFF2-40B4-BE49-F238E27FC236}">
                <a16:creationId xmlns:a16="http://schemas.microsoft.com/office/drawing/2014/main" id="{770A02B3-CD47-404C-BBA0-BA4E67E4CD1C}"/>
              </a:ext>
            </a:extLst>
          </p:cNvPr>
          <p:cNvSpPr>
            <a:spLocks noGrp="1"/>
          </p:cNvSpPr>
          <p:nvPr>
            <p:ph type="body" sz="quarter" idx="50" hasCustomPrompt="1"/>
          </p:nvPr>
        </p:nvSpPr>
        <p:spPr>
          <a:xfrm>
            <a:off x="2270719" y="311576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213077943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rase_Impact_05">
    <p:spTree>
      <p:nvGrpSpPr>
        <p:cNvPr id="1" name=""/>
        <p:cNvGrpSpPr/>
        <p:nvPr/>
      </p:nvGrpSpPr>
      <p:grpSpPr>
        <a:xfrm>
          <a:off x="0" y="0"/>
          <a:ext cx="0" cy="0"/>
          <a:chOff x="0" y="0"/>
          <a:chExt cx="0" cy="0"/>
        </a:xfrm>
      </p:grpSpPr>
      <p:pic>
        <p:nvPicPr>
          <p:cNvPr id="7" name="Imagen 6" descr="Una persona hablando por teléfono en la calle&#10;&#10;Descripción generada automáticamente con confianza baja">
            <a:extLst>
              <a:ext uri="{FF2B5EF4-FFF2-40B4-BE49-F238E27FC236}">
                <a16:creationId xmlns:a16="http://schemas.microsoft.com/office/drawing/2014/main" id="{62B4307D-F1C4-4A63-8C46-893B38B31E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6"/>
            <a:ext cx="12182476" cy="6220193"/>
          </a:xfrm>
          <a:prstGeom prst="rect">
            <a:avLst/>
          </a:prstGeom>
        </p:spPr>
      </p:pic>
      <p:sp>
        <p:nvSpPr>
          <p:cNvPr id="10" name="Rectángulo 9">
            <a:extLst>
              <a:ext uri="{FF2B5EF4-FFF2-40B4-BE49-F238E27FC236}">
                <a16:creationId xmlns:a16="http://schemas.microsoft.com/office/drawing/2014/main" id="{B5CF344C-345E-4944-96EE-FB3C28602850}"/>
              </a:ext>
            </a:extLst>
          </p:cNvPr>
          <p:cNvSpPr/>
          <p:nvPr userDrawn="1"/>
        </p:nvSpPr>
        <p:spPr>
          <a:xfrm>
            <a:off x="-1" y="637806"/>
            <a:ext cx="11978641" cy="6220194"/>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836968"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1582342520"/>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rase_Impact_05 lines">
    <p:spTree>
      <p:nvGrpSpPr>
        <p:cNvPr id="1" name=""/>
        <p:cNvGrpSpPr/>
        <p:nvPr/>
      </p:nvGrpSpPr>
      <p:grpSpPr>
        <a:xfrm>
          <a:off x="0" y="0"/>
          <a:ext cx="0" cy="0"/>
          <a:chOff x="0" y="0"/>
          <a:chExt cx="0" cy="0"/>
        </a:xfrm>
      </p:grpSpPr>
      <p:pic>
        <p:nvPicPr>
          <p:cNvPr id="7" name="Imagen 6" descr="Una persona hablando por teléfono en la calle&#10;&#10;Descripción generada automáticamente con confianza baja">
            <a:extLst>
              <a:ext uri="{FF2B5EF4-FFF2-40B4-BE49-F238E27FC236}">
                <a16:creationId xmlns:a16="http://schemas.microsoft.com/office/drawing/2014/main" id="{62B4307D-F1C4-4A63-8C46-893B38B31E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6"/>
            <a:ext cx="12182476" cy="6220193"/>
          </a:xfrm>
          <a:prstGeom prst="rect">
            <a:avLst/>
          </a:prstGeom>
        </p:spPr>
      </p:pic>
      <p:sp>
        <p:nvSpPr>
          <p:cNvPr id="10" name="Rectángulo 9">
            <a:extLst>
              <a:ext uri="{FF2B5EF4-FFF2-40B4-BE49-F238E27FC236}">
                <a16:creationId xmlns:a16="http://schemas.microsoft.com/office/drawing/2014/main" id="{B5CF344C-345E-4944-96EE-FB3C28602850}"/>
              </a:ext>
            </a:extLst>
          </p:cNvPr>
          <p:cNvSpPr/>
          <p:nvPr userDrawn="1"/>
        </p:nvSpPr>
        <p:spPr>
          <a:xfrm>
            <a:off x="-1" y="637806"/>
            <a:ext cx="11978641" cy="6220194"/>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 name="Conector recto 5">
            <a:extLst>
              <a:ext uri="{FF2B5EF4-FFF2-40B4-BE49-F238E27FC236}">
                <a16:creationId xmlns:a16="http://schemas.microsoft.com/office/drawing/2014/main" id="{5FC653A8-EB78-4233-9B05-513594F97F44}"/>
              </a:ext>
            </a:extLst>
          </p:cNvPr>
          <p:cNvCxnSpPr>
            <a:cxnSpLocks/>
          </p:cNvCxnSpPr>
          <p:nvPr userDrawn="1"/>
        </p:nvCxnSpPr>
        <p:spPr>
          <a:xfrm>
            <a:off x="2274570" y="417766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F6712989-55A3-401E-B2A7-5B2B0B52387D}"/>
              </a:ext>
            </a:extLst>
          </p:cNvPr>
          <p:cNvCxnSpPr>
            <a:cxnSpLocks/>
          </p:cNvCxnSpPr>
          <p:nvPr userDrawn="1"/>
        </p:nvCxnSpPr>
        <p:spPr>
          <a:xfrm>
            <a:off x="6106632" y="372648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F8F69366-A0B9-45CF-8EE9-56E8B8765C6E}"/>
              </a:ext>
            </a:extLst>
          </p:cNvPr>
          <p:cNvSpPr>
            <a:spLocks noGrp="1"/>
          </p:cNvSpPr>
          <p:nvPr>
            <p:ph type="body" sz="quarter" idx="48" hasCustomPrompt="1"/>
          </p:nvPr>
        </p:nvSpPr>
        <p:spPr>
          <a:xfrm>
            <a:off x="6298969" y="300560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1" name="Marcador de texto 4">
            <a:extLst>
              <a:ext uri="{FF2B5EF4-FFF2-40B4-BE49-F238E27FC236}">
                <a16:creationId xmlns:a16="http://schemas.microsoft.com/office/drawing/2014/main" id="{EA34F909-4D2B-4978-B98F-CBD630929BCB}"/>
              </a:ext>
            </a:extLst>
          </p:cNvPr>
          <p:cNvSpPr>
            <a:spLocks noGrp="1"/>
          </p:cNvSpPr>
          <p:nvPr>
            <p:ph type="body" sz="quarter" idx="49" hasCustomPrompt="1"/>
          </p:nvPr>
        </p:nvSpPr>
        <p:spPr>
          <a:xfrm>
            <a:off x="2270719" y="345866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306519074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12701" y="0"/>
            <a:ext cx="4655358"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bg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5" y="873128"/>
            <a:ext cx="2163098" cy="1130731"/>
          </a:xfrm>
          <a:prstGeom prst="rect">
            <a:avLst/>
          </a:prstGeom>
        </p:spPr>
        <p:txBody>
          <a:bodyPr lIns="0" tIns="0" rIns="0" bIns="0" anchor="t" anchorCtr="0">
            <a:noAutofit/>
          </a:bodyPr>
          <a:lstStyle>
            <a:lvl1pPr algn="l">
              <a:defRPr sz="4000">
                <a:solidFill>
                  <a:schemeClr val="bg1"/>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pic>
        <p:nvPicPr>
          <p:cNvPr id="14" name="Gráfico 13">
            <a:extLst>
              <a:ext uri="{FF2B5EF4-FFF2-40B4-BE49-F238E27FC236}">
                <a16:creationId xmlns:a16="http://schemas.microsoft.com/office/drawing/2014/main" id="{EAD1B9FA-077D-43F7-B31C-3E6557F96B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9981" y="273933"/>
            <a:ext cx="1031951" cy="190176"/>
          </a:xfrm>
          <a:prstGeom prst="rect">
            <a:avLst/>
          </a:prstGeom>
        </p:spPr>
      </p:pic>
    </p:spTree>
    <p:extLst>
      <p:ext uri="{BB962C8B-B14F-4D97-AF65-F5344CB8AC3E}">
        <p14:creationId xmlns:p14="http://schemas.microsoft.com/office/powerpoint/2010/main" val="2965908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03">
    <p:spTree>
      <p:nvGrpSpPr>
        <p:cNvPr id="1" name=""/>
        <p:cNvGrpSpPr/>
        <p:nvPr/>
      </p:nvGrpSpPr>
      <p:grpSpPr>
        <a:xfrm>
          <a:off x="0" y="0"/>
          <a:ext cx="0" cy="0"/>
          <a:chOff x="0" y="0"/>
          <a:chExt cx="0" cy="0"/>
        </a:xfrm>
      </p:grpSpPr>
      <p:pic>
        <p:nvPicPr>
          <p:cNvPr id="11" name="Imagen 10" descr="Imagen que contiene verde, alfombra&#10;&#10;Descripción generada automáticamente">
            <a:extLst>
              <a:ext uri="{FF2B5EF4-FFF2-40B4-BE49-F238E27FC236}">
                <a16:creationId xmlns:a16="http://schemas.microsoft.com/office/drawing/2014/main" id="{AB8CCE50-3C10-43EB-AD2E-1BA3DA7BFF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34202" y="-1"/>
            <a:ext cx="7934890" cy="6858001"/>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2" name="Título 1">
            <a:extLst>
              <a:ext uri="{FF2B5EF4-FFF2-40B4-BE49-F238E27FC236}">
                <a16:creationId xmlns:a16="http://schemas.microsoft.com/office/drawing/2014/main" id="{5CD7A62F-0FAA-498A-9925-E9C698702D46}"/>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4" name="Subtítulo 2">
            <a:extLst>
              <a:ext uri="{FF2B5EF4-FFF2-40B4-BE49-F238E27FC236}">
                <a16:creationId xmlns:a16="http://schemas.microsoft.com/office/drawing/2014/main" id="{D540F819-D00C-4880-93D8-F72F845CE6D9}"/>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6" name="Gráfico 15">
            <a:extLst>
              <a:ext uri="{FF2B5EF4-FFF2-40B4-BE49-F238E27FC236}">
                <a16:creationId xmlns:a16="http://schemas.microsoft.com/office/drawing/2014/main" id="{6BB9AE6F-2C06-46B2-AF3E-2B591A44A6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1591649780"/>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1" name="Marcador de texto 5">
            <a:extLst>
              <a:ext uri="{FF2B5EF4-FFF2-40B4-BE49-F238E27FC236}">
                <a16:creationId xmlns:a16="http://schemas.microsoft.com/office/drawing/2014/main" id="{E186EE22-9E95-4126-AB3D-0F81CC56F370}"/>
              </a:ext>
            </a:extLst>
          </p:cNvPr>
          <p:cNvSpPr>
            <a:spLocks noGrp="1"/>
          </p:cNvSpPr>
          <p:nvPr>
            <p:ph type="body" sz="quarter" idx="25" hasCustomPrompt="1"/>
          </p:nvPr>
        </p:nvSpPr>
        <p:spPr>
          <a:xfrm>
            <a:off x="515938" y="2708346"/>
            <a:ext cx="1960562" cy="247650"/>
          </a:xfrm>
          <a:prstGeom prst="rect">
            <a:avLst/>
          </a:prstGeom>
        </p:spPr>
        <p:txBody>
          <a:bodyPr lIns="0" tIns="0" rIns="0" bIns="0"/>
          <a:lstStyle>
            <a:lvl1pPr marL="0" indent="0">
              <a:lnSpc>
                <a:spcPct val="100000"/>
              </a:lnSpc>
              <a:spcBef>
                <a:spcPts val="0"/>
              </a:spcBef>
              <a:spcAft>
                <a:spcPts val="975"/>
              </a:spcAft>
              <a:buNone/>
              <a:defRPr sz="800" b="1" i="0">
                <a:solidFill>
                  <a:schemeClr val="tx1"/>
                </a:solidFill>
                <a:latin typeface="Santander Text" panose="020B0504020201020104" pitchFamily="34" charset="0"/>
                <a:cs typeface="Santander Headline Light" panose="020B03040202010101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
        <p:nvSpPr>
          <p:cNvPr id="19" name="Marcador de texto 5">
            <a:extLst>
              <a:ext uri="{FF2B5EF4-FFF2-40B4-BE49-F238E27FC236}">
                <a16:creationId xmlns:a16="http://schemas.microsoft.com/office/drawing/2014/main" id="{F5B3AABB-B53D-46B5-8727-95C585D257E1}"/>
              </a:ext>
            </a:extLst>
          </p:cNvPr>
          <p:cNvSpPr>
            <a:spLocks noGrp="1"/>
          </p:cNvSpPr>
          <p:nvPr>
            <p:ph type="body" sz="quarter" idx="26" hasCustomPrompt="1"/>
          </p:nvPr>
        </p:nvSpPr>
        <p:spPr>
          <a:xfrm>
            <a:off x="515938" y="2956000"/>
            <a:ext cx="11352212" cy="3435279"/>
          </a:xfrm>
          <a:prstGeom prst="rect">
            <a:avLst/>
          </a:prstGeom>
        </p:spPr>
        <p:txBody>
          <a:bodyPr lIns="0" tIns="0" rIns="0" bIns="0"/>
          <a:lstStyle>
            <a:lvl1pPr marL="0" indent="0">
              <a:lnSpc>
                <a:spcPct val="100000"/>
              </a:lnSpc>
              <a:spcBef>
                <a:spcPts val="0"/>
              </a:spcBef>
              <a:spcAft>
                <a:spcPts val="975"/>
              </a:spcAft>
              <a:buNone/>
              <a:defRPr sz="800" b="0" i="0">
                <a:solidFill>
                  <a:schemeClr val="tx1"/>
                </a:solidFill>
                <a:latin typeface="Santander Text Light" panose="020B0304020201020104" pitchFamily="34" charset="0"/>
                <a:cs typeface="Santander Headline Light" panose="020B03040202010101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Tree>
    <p:extLst>
      <p:ext uri="{BB962C8B-B14F-4D97-AF65-F5344CB8AC3E}">
        <p14:creationId xmlns:p14="http://schemas.microsoft.com/office/powerpoint/2010/main" val="245344465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pic>
        <p:nvPicPr>
          <p:cNvPr id="4" name="Gráfico 3">
            <a:extLst>
              <a:ext uri="{FF2B5EF4-FFF2-40B4-BE49-F238E27FC236}">
                <a16:creationId xmlns:a16="http://schemas.microsoft.com/office/drawing/2014/main" id="{FB77043E-2525-47F7-8F31-7A92994A3E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7"/>
            <a:ext cx="3181299" cy="549854"/>
          </a:xfrm>
          <a:prstGeom prst="rect">
            <a:avLst/>
          </a:prstGeom>
        </p:spPr>
      </p:pic>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spTree>
    <p:extLst>
      <p:ext uri="{BB962C8B-B14F-4D97-AF65-F5344CB8AC3E}">
        <p14:creationId xmlns:p14="http://schemas.microsoft.com/office/powerpoint/2010/main" val="2864774735"/>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_DTB">
    <p:bg>
      <p:bgPr>
        <a:solidFill>
          <a:schemeClr val="accent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pic>
        <p:nvPicPr>
          <p:cNvPr id="10" name="Gráfico 9">
            <a:extLst>
              <a:ext uri="{FF2B5EF4-FFF2-40B4-BE49-F238E27FC236}">
                <a16:creationId xmlns:a16="http://schemas.microsoft.com/office/drawing/2014/main" id="{0736881D-BBF2-444C-8441-265893FC95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8"/>
            <a:ext cx="3181298" cy="549853"/>
          </a:xfrm>
          <a:prstGeom prst="rect">
            <a:avLst/>
          </a:prstGeom>
        </p:spPr>
      </p:pic>
    </p:spTree>
    <p:extLst>
      <p:ext uri="{BB962C8B-B14F-4D97-AF65-F5344CB8AC3E}">
        <p14:creationId xmlns:p14="http://schemas.microsoft.com/office/powerpoint/2010/main" val="3278751508"/>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Grey">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D5F0CF-A59C-45D8-8B90-4C68A4735927}"/>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3" name="Conector recto 2">
            <a:extLst>
              <a:ext uri="{FF2B5EF4-FFF2-40B4-BE49-F238E27FC236}">
                <a16:creationId xmlns:a16="http://schemas.microsoft.com/office/drawing/2014/main" id="{8E9D0C20-A937-47C8-87DD-C13BE947DB6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0931606"/>
      </p:ext>
    </p:extLst>
  </p:cSld>
  <p:clrMapOvr>
    <a:masterClrMapping/>
  </p:clrMapOvr>
  <p:extLst>
    <p:ext uri="{DCECCB84-F9BA-43D5-87BE-67443E8EF086}">
      <p15:sldGuideLst xmlns:p15="http://schemas.microsoft.com/office/powerpoint/2012/main">
        <p15:guide id="2" pos="740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623338"/>
      </p:ext>
    </p:extLst>
  </p:cSld>
  <p:clrMapOvr>
    <a:masterClrMapping/>
  </p:clrMapOvr>
  <p:extLst>
    <p:ext uri="{DCECCB84-F9BA-43D5-87BE-67443E8EF086}">
      <p15:sldGuideLst xmlns:p15="http://schemas.microsoft.com/office/powerpoint/2012/main">
        <p15:guide id="2" pos="740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2217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tex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arcador de texto 4">
            <a:extLst>
              <a:ext uri="{FF2B5EF4-FFF2-40B4-BE49-F238E27FC236}">
                <a16:creationId xmlns:a16="http://schemas.microsoft.com/office/drawing/2014/main" id="{89BC3D96-72AD-4103-B6F1-48C1373326B1}"/>
              </a:ext>
            </a:extLst>
          </p:cNvPr>
          <p:cNvSpPr>
            <a:spLocks noGrp="1"/>
          </p:cNvSpPr>
          <p:nvPr>
            <p:ph type="body" sz="quarter" idx="24" hasCustomPrompt="1"/>
          </p:nvPr>
        </p:nvSpPr>
        <p:spPr>
          <a:xfrm>
            <a:off x="6827359" y="2001528"/>
            <a:ext cx="4923316" cy="4106220"/>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6" name="Marcador de texto 4">
            <a:extLst>
              <a:ext uri="{FF2B5EF4-FFF2-40B4-BE49-F238E27FC236}">
                <a16:creationId xmlns:a16="http://schemas.microsoft.com/office/drawing/2014/main" id="{B39BD0FF-87E8-4E82-AC8D-F2C3BE9473DF}"/>
              </a:ext>
            </a:extLst>
          </p:cNvPr>
          <p:cNvSpPr>
            <a:spLocks noGrp="1"/>
          </p:cNvSpPr>
          <p:nvPr>
            <p:ph type="body" sz="quarter" idx="47" hasCustomPrompt="1"/>
          </p:nvPr>
        </p:nvSpPr>
        <p:spPr>
          <a:xfrm>
            <a:off x="6818314" y="1691640"/>
            <a:ext cx="4932363"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5" name="Marcador de contenido 14">
            <a:extLst>
              <a:ext uri="{FF2B5EF4-FFF2-40B4-BE49-F238E27FC236}">
                <a16:creationId xmlns:a16="http://schemas.microsoft.com/office/drawing/2014/main" id="{7F9DB77A-2827-410A-B8AD-D75217F5F0C1}"/>
              </a:ext>
            </a:extLst>
          </p:cNvPr>
          <p:cNvSpPr>
            <a:spLocks noGrp="1"/>
          </p:cNvSpPr>
          <p:nvPr>
            <p:ph sz="quarter" idx="48" hasCustomPrompt="1"/>
          </p:nvPr>
        </p:nvSpPr>
        <p:spPr>
          <a:xfrm>
            <a:off x="454027" y="1692275"/>
            <a:ext cx="5316538" cy="4368800"/>
          </a:xfrm>
          <a:prstGeom prst="rect">
            <a:avLst/>
          </a:prstGeom>
        </p:spPr>
        <p:txBody>
          <a:bodyPr/>
          <a:lstStyle>
            <a:lvl1pPr marL="0" indent="0">
              <a:buNone/>
              <a:defRPr sz="1200"/>
            </a:lvl1pPr>
            <a:lvl2pPr marL="371475" indent="0">
              <a:buNone/>
              <a:defRPr/>
            </a:lvl2pPr>
            <a:lvl3pPr marL="742950" indent="0">
              <a:buNone/>
              <a:defRPr/>
            </a:lvl3pPr>
            <a:lvl4pPr marL="1114425" indent="0">
              <a:buNone/>
              <a:defRPr/>
            </a:lvl4pPr>
            <a:lvl5pPr marL="1485900" indent="0">
              <a:buNone/>
              <a:defRPr/>
            </a:lvl5pPr>
          </a:lstStyle>
          <a:p>
            <a:pPr lvl="0"/>
            <a:r>
              <a:rPr lang="es-ES" dirty="0" err="1"/>
              <a:t>Object</a:t>
            </a:r>
            <a:endParaRPr lang="es-ES" dirty="0"/>
          </a:p>
        </p:txBody>
      </p:sp>
    </p:spTree>
    <p:extLst>
      <p:ext uri="{BB962C8B-B14F-4D97-AF65-F5344CB8AC3E}">
        <p14:creationId xmlns:p14="http://schemas.microsoft.com/office/powerpoint/2010/main" val="1174543948"/>
      </p:ext>
    </p:extLst>
  </p:cSld>
  <p:clrMapOvr>
    <a:masterClrMapping/>
  </p:clrMapOvr>
  <p:extLst>
    <p:ext uri="{DCECCB84-F9BA-43D5-87BE-67443E8EF086}">
      <p15:sldGuideLst xmlns:p15="http://schemas.microsoft.com/office/powerpoint/2012/main">
        <p15:guide id="2" pos="3636" userDrawn="1">
          <p15:clr>
            <a:srgbClr val="FBAE40"/>
          </p15:clr>
        </p15:guide>
        <p15:guide id="3" pos="404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arcador de texto 4">
            <a:extLst>
              <a:ext uri="{FF2B5EF4-FFF2-40B4-BE49-F238E27FC236}">
                <a16:creationId xmlns:a16="http://schemas.microsoft.com/office/drawing/2014/main" id="{89BC3D96-72AD-4103-B6F1-48C1373326B1}"/>
              </a:ext>
            </a:extLst>
          </p:cNvPr>
          <p:cNvSpPr>
            <a:spLocks noGrp="1"/>
          </p:cNvSpPr>
          <p:nvPr>
            <p:ph type="body" sz="quarter" idx="24" hasCustomPrompt="1"/>
          </p:nvPr>
        </p:nvSpPr>
        <p:spPr>
          <a:xfrm>
            <a:off x="6420338" y="2002163"/>
            <a:ext cx="5319225" cy="4106220"/>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6" name="Marcador de texto 4">
            <a:extLst>
              <a:ext uri="{FF2B5EF4-FFF2-40B4-BE49-F238E27FC236}">
                <a16:creationId xmlns:a16="http://schemas.microsoft.com/office/drawing/2014/main" id="{B39BD0FF-87E8-4E82-AC8D-F2C3BE9473DF}"/>
              </a:ext>
            </a:extLst>
          </p:cNvPr>
          <p:cNvSpPr>
            <a:spLocks noGrp="1"/>
          </p:cNvSpPr>
          <p:nvPr>
            <p:ph type="body" sz="quarter" idx="47" hasCustomPrompt="1"/>
          </p:nvPr>
        </p:nvSpPr>
        <p:spPr>
          <a:xfrm>
            <a:off x="6420341" y="1692275"/>
            <a:ext cx="5319225"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5" name="Marcador de contenido 14">
            <a:extLst>
              <a:ext uri="{FF2B5EF4-FFF2-40B4-BE49-F238E27FC236}">
                <a16:creationId xmlns:a16="http://schemas.microsoft.com/office/drawing/2014/main" id="{7F9DB77A-2827-410A-B8AD-D75217F5F0C1}"/>
              </a:ext>
            </a:extLst>
          </p:cNvPr>
          <p:cNvSpPr>
            <a:spLocks noGrp="1"/>
          </p:cNvSpPr>
          <p:nvPr>
            <p:ph sz="quarter" idx="48" hasCustomPrompt="1"/>
          </p:nvPr>
        </p:nvSpPr>
        <p:spPr>
          <a:xfrm>
            <a:off x="452437" y="1692275"/>
            <a:ext cx="5316538" cy="4368800"/>
          </a:xfrm>
          <a:prstGeom prst="rect">
            <a:avLst/>
          </a:prstGeom>
        </p:spPr>
        <p:txBody>
          <a:bodyPr/>
          <a:lstStyle>
            <a:lvl1pPr marL="0" indent="0">
              <a:buNone/>
              <a:defRPr sz="1200"/>
            </a:lvl1pPr>
            <a:lvl2pPr marL="371475" indent="0">
              <a:buNone/>
              <a:defRPr/>
            </a:lvl2pPr>
            <a:lvl3pPr marL="742950" indent="0">
              <a:buNone/>
              <a:defRPr/>
            </a:lvl3pPr>
            <a:lvl4pPr marL="1114425" indent="0">
              <a:buNone/>
              <a:defRPr/>
            </a:lvl4pPr>
            <a:lvl5pPr marL="1485900" indent="0">
              <a:buNone/>
              <a:defRPr/>
            </a:lvl5pPr>
          </a:lstStyle>
          <a:p>
            <a:pPr lvl="0"/>
            <a:r>
              <a:rPr lang="es-ES" dirty="0" err="1"/>
              <a:t>Object</a:t>
            </a:r>
            <a:endParaRPr lang="es-ES" dirty="0"/>
          </a:p>
        </p:txBody>
      </p:sp>
    </p:spTree>
    <p:extLst>
      <p:ext uri="{BB962C8B-B14F-4D97-AF65-F5344CB8AC3E}">
        <p14:creationId xmlns:p14="http://schemas.microsoft.com/office/powerpoint/2010/main" val="3905344509"/>
      </p:ext>
    </p:extLst>
  </p:cSld>
  <p:clrMapOvr>
    <a:masterClrMapping/>
  </p:clrMapOvr>
  <p:extLst>
    <p:ext uri="{DCECCB84-F9BA-43D5-87BE-67443E8EF086}">
      <p15:sldGuideLst xmlns:p15="http://schemas.microsoft.com/office/powerpoint/2012/main">
        <p15:guide id="2" pos="3636" userDrawn="1">
          <p15:clr>
            <a:srgbClr val="FBAE40"/>
          </p15:clr>
        </p15:guide>
        <p15:guide id="3" pos="404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texto 4">
            <a:extLst>
              <a:ext uri="{FF2B5EF4-FFF2-40B4-BE49-F238E27FC236}">
                <a16:creationId xmlns:a16="http://schemas.microsoft.com/office/drawing/2014/main" id="{5CABBC28-838E-4E75-B2CC-19063D2B85C0}"/>
              </a:ext>
            </a:extLst>
          </p:cNvPr>
          <p:cNvSpPr>
            <a:spLocks noGrp="1"/>
          </p:cNvSpPr>
          <p:nvPr>
            <p:ph type="body" sz="quarter" idx="48" hasCustomPrompt="1"/>
          </p:nvPr>
        </p:nvSpPr>
        <p:spPr>
          <a:xfrm>
            <a:off x="6419850" y="2001528"/>
            <a:ext cx="533019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8" name="Marcador de texto 4">
            <a:extLst>
              <a:ext uri="{FF2B5EF4-FFF2-40B4-BE49-F238E27FC236}">
                <a16:creationId xmlns:a16="http://schemas.microsoft.com/office/drawing/2014/main" id="{22FF684A-1120-4A8E-A122-8486CD10B232}"/>
              </a:ext>
            </a:extLst>
          </p:cNvPr>
          <p:cNvSpPr>
            <a:spLocks noGrp="1"/>
          </p:cNvSpPr>
          <p:nvPr>
            <p:ph type="body" sz="quarter" idx="49" hasCustomPrompt="1"/>
          </p:nvPr>
        </p:nvSpPr>
        <p:spPr>
          <a:xfrm>
            <a:off x="6419850"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533019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1"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558840920"/>
      </p:ext>
    </p:extLst>
  </p:cSld>
  <p:clrMapOvr>
    <a:masterClrMapping/>
  </p:clrMapOvr>
  <p:extLst>
    <p:ext uri="{DCECCB84-F9BA-43D5-87BE-67443E8EF086}">
      <p15:sldGuideLst xmlns:p15="http://schemas.microsoft.com/office/powerpoint/2012/main">
        <p15:guide id="1" pos="4044" userDrawn="1">
          <p15:clr>
            <a:srgbClr val="FBAE40"/>
          </p15:clr>
        </p15:guide>
        <p15:guide id="2" orient="horz" pos="107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Texts 2 Graph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texto 4">
            <a:extLst>
              <a:ext uri="{FF2B5EF4-FFF2-40B4-BE49-F238E27FC236}">
                <a16:creationId xmlns:a16="http://schemas.microsoft.com/office/drawing/2014/main" id="{5CABBC28-838E-4E75-B2CC-19063D2B85C0}"/>
              </a:ext>
            </a:extLst>
          </p:cNvPr>
          <p:cNvSpPr>
            <a:spLocks noGrp="1"/>
          </p:cNvSpPr>
          <p:nvPr>
            <p:ph type="body" sz="quarter" idx="48" hasCustomPrompt="1"/>
          </p:nvPr>
        </p:nvSpPr>
        <p:spPr>
          <a:xfrm>
            <a:off x="6419850" y="2001529"/>
            <a:ext cx="5330190" cy="129031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8" name="Marcador de texto 4">
            <a:extLst>
              <a:ext uri="{FF2B5EF4-FFF2-40B4-BE49-F238E27FC236}">
                <a16:creationId xmlns:a16="http://schemas.microsoft.com/office/drawing/2014/main" id="{22FF684A-1120-4A8E-A122-8486CD10B232}"/>
              </a:ext>
            </a:extLst>
          </p:cNvPr>
          <p:cNvSpPr>
            <a:spLocks noGrp="1"/>
          </p:cNvSpPr>
          <p:nvPr>
            <p:ph type="body" sz="quarter" idx="49" hasCustomPrompt="1"/>
          </p:nvPr>
        </p:nvSpPr>
        <p:spPr>
          <a:xfrm>
            <a:off x="6419850"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9"/>
            <a:ext cx="5330190" cy="129031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9259" y="1691640"/>
            <a:ext cx="532051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8" name="Marcador de gráfico 3">
            <a:extLst>
              <a:ext uri="{FF2B5EF4-FFF2-40B4-BE49-F238E27FC236}">
                <a16:creationId xmlns:a16="http://schemas.microsoft.com/office/drawing/2014/main" id="{A534100C-A7C2-47DE-9915-7861CD80024C}"/>
              </a:ext>
            </a:extLst>
          </p:cNvPr>
          <p:cNvSpPr>
            <a:spLocks noGrp="1"/>
          </p:cNvSpPr>
          <p:nvPr>
            <p:ph type="chart" sz="quarter" idx="65" hasCustomPrompt="1"/>
          </p:nvPr>
        </p:nvSpPr>
        <p:spPr>
          <a:xfrm>
            <a:off x="443525" y="3970790"/>
            <a:ext cx="5352987" cy="2266501"/>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9" name="Marcador de texto 4">
            <a:extLst>
              <a:ext uri="{FF2B5EF4-FFF2-40B4-BE49-F238E27FC236}">
                <a16:creationId xmlns:a16="http://schemas.microsoft.com/office/drawing/2014/main" id="{325A055B-C838-43E5-AC0B-878944DF80F4}"/>
              </a:ext>
            </a:extLst>
          </p:cNvPr>
          <p:cNvSpPr>
            <a:spLocks noGrp="1"/>
          </p:cNvSpPr>
          <p:nvPr>
            <p:ph type="body" sz="quarter" idx="31" hasCustomPrompt="1"/>
          </p:nvPr>
        </p:nvSpPr>
        <p:spPr>
          <a:xfrm>
            <a:off x="443523" y="3486084"/>
            <a:ext cx="536232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0" name="Marcador de texto 4">
            <a:extLst>
              <a:ext uri="{FF2B5EF4-FFF2-40B4-BE49-F238E27FC236}">
                <a16:creationId xmlns:a16="http://schemas.microsoft.com/office/drawing/2014/main" id="{6599239B-B8B4-40AD-BBE6-511C91D1F35C}"/>
              </a:ext>
            </a:extLst>
          </p:cNvPr>
          <p:cNvSpPr>
            <a:spLocks noGrp="1"/>
          </p:cNvSpPr>
          <p:nvPr>
            <p:ph type="body" sz="quarter" idx="66" hasCustomPrompt="1"/>
          </p:nvPr>
        </p:nvSpPr>
        <p:spPr>
          <a:xfrm>
            <a:off x="439867" y="3718279"/>
            <a:ext cx="536597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11" name="Marcador de gráfico 3">
            <a:extLst>
              <a:ext uri="{FF2B5EF4-FFF2-40B4-BE49-F238E27FC236}">
                <a16:creationId xmlns:a16="http://schemas.microsoft.com/office/drawing/2014/main" id="{88231BB7-4DC5-412C-A632-7301D2649DB2}"/>
              </a:ext>
            </a:extLst>
          </p:cNvPr>
          <p:cNvSpPr>
            <a:spLocks noGrp="1"/>
          </p:cNvSpPr>
          <p:nvPr>
            <p:ph type="chart" sz="quarter" idx="67" hasCustomPrompt="1"/>
          </p:nvPr>
        </p:nvSpPr>
        <p:spPr>
          <a:xfrm>
            <a:off x="6398848" y="3970790"/>
            <a:ext cx="5352987" cy="2266501"/>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2" name="Marcador de texto 4">
            <a:extLst>
              <a:ext uri="{FF2B5EF4-FFF2-40B4-BE49-F238E27FC236}">
                <a16:creationId xmlns:a16="http://schemas.microsoft.com/office/drawing/2014/main" id="{268C0BF3-5A29-4B8B-A9C2-D473954B5BAD}"/>
              </a:ext>
            </a:extLst>
          </p:cNvPr>
          <p:cNvSpPr>
            <a:spLocks noGrp="1"/>
          </p:cNvSpPr>
          <p:nvPr>
            <p:ph type="body" sz="quarter" idx="68" hasCustomPrompt="1"/>
          </p:nvPr>
        </p:nvSpPr>
        <p:spPr>
          <a:xfrm>
            <a:off x="6398846" y="3486084"/>
            <a:ext cx="536232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3" name="Marcador de texto 4">
            <a:extLst>
              <a:ext uri="{FF2B5EF4-FFF2-40B4-BE49-F238E27FC236}">
                <a16:creationId xmlns:a16="http://schemas.microsoft.com/office/drawing/2014/main" id="{4BAC8A95-21EE-4B3F-92AD-36F23407443B}"/>
              </a:ext>
            </a:extLst>
          </p:cNvPr>
          <p:cNvSpPr>
            <a:spLocks noGrp="1"/>
          </p:cNvSpPr>
          <p:nvPr>
            <p:ph type="body" sz="quarter" idx="69" hasCustomPrompt="1"/>
          </p:nvPr>
        </p:nvSpPr>
        <p:spPr>
          <a:xfrm>
            <a:off x="6395190" y="3718279"/>
            <a:ext cx="536597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457295298"/>
      </p:ext>
    </p:extLst>
  </p:cSld>
  <p:clrMapOvr>
    <a:masterClrMapping/>
  </p:clrMapOvr>
  <p:extLst>
    <p:ext uri="{DCECCB84-F9BA-43D5-87BE-67443E8EF086}">
      <p15:sldGuideLst xmlns:p15="http://schemas.microsoft.com/office/powerpoint/2012/main">
        <p15:guide id="1" pos="4036" userDrawn="1">
          <p15:clr>
            <a:srgbClr val="FBAE40"/>
          </p15:clr>
        </p15:guide>
        <p15:guide id="2" orient="horz" pos="107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05">
    <p:spTree>
      <p:nvGrpSpPr>
        <p:cNvPr id="1" name=""/>
        <p:cNvGrpSpPr/>
        <p:nvPr/>
      </p:nvGrpSpPr>
      <p:grpSpPr>
        <a:xfrm>
          <a:off x="0" y="0"/>
          <a:ext cx="0" cy="0"/>
          <a:chOff x="0" y="0"/>
          <a:chExt cx="0" cy="0"/>
        </a:xfrm>
      </p:grpSpPr>
      <p:pic>
        <p:nvPicPr>
          <p:cNvPr id="14" name="Imagen 13" descr="Una persona hablando por teléfono en la calle&#10;&#10;Descripción generada automáticamente con confianza baja">
            <a:extLst>
              <a:ext uri="{FF2B5EF4-FFF2-40B4-BE49-F238E27FC236}">
                <a16:creationId xmlns:a16="http://schemas.microsoft.com/office/drawing/2014/main" id="{6199B7CC-FF45-4609-91BB-69AD45630A0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73622" y="0"/>
            <a:ext cx="7906622" cy="6858000"/>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1" name="Título 1">
            <a:extLst>
              <a:ext uri="{FF2B5EF4-FFF2-40B4-BE49-F238E27FC236}">
                <a16:creationId xmlns:a16="http://schemas.microsoft.com/office/drawing/2014/main" id="{76CF1265-6925-4C3C-889D-13DC7F1CD5CD}"/>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2" name="Subtítulo 2">
            <a:extLst>
              <a:ext uri="{FF2B5EF4-FFF2-40B4-BE49-F238E27FC236}">
                <a16:creationId xmlns:a16="http://schemas.microsoft.com/office/drawing/2014/main" id="{B72F59BE-42FB-4763-99E8-94F51EBCDC18}"/>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6" name="Gráfico 15">
            <a:extLst>
              <a:ext uri="{FF2B5EF4-FFF2-40B4-BE49-F238E27FC236}">
                <a16:creationId xmlns:a16="http://schemas.microsoft.com/office/drawing/2014/main" id="{EB73D48A-43F4-49A4-A9CF-446550DC77D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2435117964"/>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3811206394"/>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Texts and objec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0" name="Marcador de contenido 2">
            <a:extLst>
              <a:ext uri="{FF2B5EF4-FFF2-40B4-BE49-F238E27FC236}">
                <a16:creationId xmlns:a16="http://schemas.microsoft.com/office/drawing/2014/main" id="{7E527339-F4B2-4F0A-AB1B-5E840BA4F9A9}"/>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156838941"/>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6" name="Marcador de texto 4">
            <a:extLst>
              <a:ext uri="{FF2B5EF4-FFF2-40B4-BE49-F238E27FC236}">
                <a16:creationId xmlns:a16="http://schemas.microsoft.com/office/drawing/2014/main" id="{DC08B26D-FEAE-4BD2-9859-FC875AD50D13}"/>
              </a:ext>
            </a:extLst>
          </p:cNvPr>
          <p:cNvSpPr>
            <a:spLocks noGrp="1"/>
          </p:cNvSpPr>
          <p:nvPr>
            <p:ph type="body" sz="quarter" idx="52" hasCustomPrompt="1"/>
          </p:nvPr>
        </p:nvSpPr>
        <p:spPr>
          <a:xfrm>
            <a:off x="3359151"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7" name="Marcador de texto 4">
            <a:extLst>
              <a:ext uri="{FF2B5EF4-FFF2-40B4-BE49-F238E27FC236}">
                <a16:creationId xmlns:a16="http://schemas.microsoft.com/office/drawing/2014/main" id="{B94D936F-A713-496A-9059-66BCCED8174F}"/>
              </a:ext>
            </a:extLst>
          </p:cNvPr>
          <p:cNvSpPr>
            <a:spLocks noGrp="1"/>
          </p:cNvSpPr>
          <p:nvPr>
            <p:ph type="body" sz="quarter" idx="53" hasCustomPrompt="1"/>
          </p:nvPr>
        </p:nvSpPr>
        <p:spPr>
          <a:xfrm>
            <a:off x="3359151"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8" name="Marcador de texto 4">
            <a:extLst>
              <a:ext uri="{FF2B5EF4-FFF2-40B4-BE49-F238E27FC236}">
                <a16:creationId xmlns:a16="http://schemas.microsoft.com/office/drawing/2014/main" id="{6F6E1165-B366-4B72-A4D3-D5BA0CBB0029}"/>
              </a:ext>
            </a:extLst>
          </p:cNvPr>
          <p:cNvSpPr>
            <a:spLocks noGrp="1"/>
          </p:cNvSpPr>
          <p:nvPr>
            <p:ph type="body" sz="quarter" idx="54" hasCustomPrompt="1"/>
          </p:nvPr>
        </p:nvSpPr>
        <p:spPr>
          <a:xfrm>
            <a:off x="6287771"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9B738A51-AACA-495B-B606-C135442DA04A}"/>
              </a:ext>
            </a:extLst>
          </p:cNvPr>
          <p:cNvSpPr>
            <a:spLocks noGrp="1"/>
          </p:cNvSpPr>
          <p:nvPr>
            <p:ph type="body" sz="quarter" idx="55" hasCustomPrompt="1"/>
          </p:nvPr>
        </p:nvSpPr>
        <p:spPr>
          <a:xfrm>
            <a:off x="6287770"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2" name="Marcador de texto 4">
            <a:extLst>
              <a:ext uri="{FF2B5EF4-FFF2-40B4-BE49-F238E27FC236}">
                <a16:creationId xmlns:a16="http://schemas.microsoft.com/office/drawing/2014/main" id="{469C4768-3E8E-45F7-8742-31D13A351AD8}"/>
              </a:ext>
            </a:extLst>
          </p:cNvPr>
          <p:cNvSpPr>
            <a:spLocks noGrp="1"/>
          </p:cNvSpPr>
          <p:nvPr>
            <p:ph type="body" sz="quarter" idx="56" hasCustomPrompt="1"/>
          </p:nvPr>
        </p:nvSpPr>
        <p:spPr>
          <a:xfrm>
            <a:off x="9216393"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Marcador de texto 4">
            <a:extLst>
              <a:ext uri="{FF2B5EF4-FFF2-40B4-BE49-F238E27FC236}">
                <a16:creationId xmlns:a16="http://schemas.microsoft.com/office/drawing/2014/main" id="{6AE31F30-1E54-4723-885E-60A1530BF591}"/>
              </a:ext>
            </a:extLst>
          </p:cNvPr>
          <p:cNvSpPr>
            <a:spLocks noGrp="1"/>
          </p:cNvSpPr>
          <p:nvPr>
            <p:ph type="body" sz="quarter" idx="57" hasCustomPrompt="1"/>
          </p:nvPr>
        </p:nvSpPr>
        <p:spPr>
          <a:xfrm>
            <a:off x="921639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1206330413"/>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s + objec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6" name="Marcador de texto 4">
            <a:extLst>
              <a:ext uri="{FF2B5EF4-FFF2-40B4-BE49-F238E27FC236}">
                <a16:creationId xmlns:a16="http://schemas.microsoft.com/office/drawing/2014/main" id="{DC08B26D-FEAE-4BD2-9859-FC875AD50D13}"/>
              </a:ext>
            </a:extLst>
          </p:cNvPr>
          <p:cNvSpPr>
            <a:spLocks noGrp="1"/>
          </p:cNvSpPr>
          <p:nvPr>
            <p:ph type="body" sz="quarter" idx="52" hasCustomPrompt="1"/>
          </p:nvPr>
        </p:nvSpPr>
        <p:spPr>
          <a:xfrm>
            <a:off x="3359151"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7" name="Marcador de texto 4">
            <a:extLst>
              <a:ext uri="{FF2B5EF4-FFF2-40B4-BE49-F238E27FC236}">
                <a16:creationId xmlns:a16="http://schemas.microsoft.com/office/drawing/2014/main" id="{B94D936F-A713-496A-9059-66BCCED8174F}"/>
              </a:ext>
            </a:extLst>
          </p:cNvPr>
          <p:cNvSpPr>
            <a:spLocks noGrp="1"/>
          </p:cNvSpPr>
          <p:nvPr>
            <p:ph type="body" sz="quarter" idx="53" hasCustomPrompt="1"/>
          </p:nvPr>
        </p:nvSpPr>
        <p:spPr>
          <a:xfrm>
            <a:off x="3359151"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8" name="Marcador de texto 4">
            <a:extLst>
              <a:ext uri="{FF2B5EF4-FFF2-40B4-BE49-F238E27FC236}">
                <a16:creationId xmlns:a16="http://schemas.microsoft.com/office/drawing/2014/main" id="{6F6E1165-B366-4B72-A4D3-D5BA0CBB0029}"/>
              </a:ext>
            </a:extLst>
          </p:cNvPr>
          <p:cNvSpPr>
            <a:spLocks noGrp="1"/>
          </p:cNvSpPr>
          <p:nvPr>
            <p:ph type="body" sz="quarter" idx="54" hasCustomPrompt="1"/>
          </p:nvPr>
        </p:nvSpPr>
        <p:spPr>
          <a:xfrm>
            <a:off x="6287771"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9B738A51-AACA-495B-B606-C135442DA04A}"/>
              </a:ext>
            </a:extLst>
          </p:cNvPr>
          <p:cNvSpPr>
            <a:spLocks noGrp="1"/>
          </p:cNvSpPr>
          <p:nvPr>
            <p:ph type="body" sz="quarter" idx="55" hasCustomPrompt="1"/>
          </p:nvPr>
        </p:nvSpPr>
        <p:spPr>
          <a:xfrm>
            <a:off x="6287770"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2" name="Marcador de texto 4">
            <a:extLst>
              <a:ext uri="{FF2B5EF4-FFF2-40B4-BE49-F238E27FC236}">
                <a16:creationId xmlns:a16="http://schemas.microsoft.com/office/drawing/2014/main" id="{469C4768-3E8E-45F7-8742-31D13A351AD8}"/>
              </a:ext>
            </a:extLst>
          </p:cNvPr>
          <p:cNvSpPr>
            <a:spLocks noGrp="1"/>
          </p:cNvSpPr>
          <p:nvPr>
            <p:ph type="body" sz="quarter" idx="56" hasCustomPrompt="1"/>
          </p:nvPr>
        </p:nvSpPr>
        <p:spPr>
          <a:xfrm>
            <a:off x="9216393"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Marcador de texto 4">
            <a:extLst>
              <a:ext uri="{FF2B5EF4-FFF2-40B4-BE49-F238E27FC236}">
                <a16:creationId xmlns:a16="http://schemas.microsoft.com/office/drawing/2014/main" id="{6AE31F30-1E54-4723-885E-60A1530BF591}"/>
              </a:ext>
            </a:extLst>
          </p:cNvPr>
          <p:cNvSpPr>
            <a:spLocks noGrp="1"/>
          </p:cNvSpPr>
          <p:nvPr>
            <p:ph type="body" sz="quarter" idx="57" hasCustomPrompt="1"/>
          </p:nvPr>
        </p:nvSpPr>
        <p:spPr>
          <a:xfrm>
            <a:off x="921639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2" name="Marcador de contenido 2">
            <a:extLst>
              <a:ext uri="{FF2B5EF4-FFF2-40B4-BE49-F238E27FC236}">
                <a16:creationId xmlns:a16="http://schemas.microsoft.com/office/drawing/2014/main" id="{080ED81B-83CB-4063-82C4-5FB8AF295666}"/>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3694289644"/>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8" name="Marcador de texto 4">
            <a:extLst>
              <a:ext uri="{FF2B5EF4-FFF2-40B4-BE49-F238E27FC236}">
                <a16:creationId xmlns:a16="http://schemas.microsoft.com/office/drawing/2014/main" id="{6AD90256-1F21-4D4E-8047-4EB7E526CDE5}"/>
              </a:ext>
            </a:extLst>
          </p:cNvPr>
          <p:cNvSpPr>
            <a:spLocks noGrp="1"/>
          </p:cNvSpPr>
          <p:nvPr>
            <p:ph type="body" sz="quarter" idx="52" hasCustomPrompt="1"/>
          </p:nvPr>
        </p:nvSpPr>
        <p:spPr>
          <a:xfrm>
            <a:off x="277749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9" name="Marcador de texto 4">
            <a:extLst>
              <a:ext uri="{FF2B5EF4-FFF2-40B4-BE49-F238E27FC236}">
                <a16:creationId xmlns:a16="http://schemas.microsoft.com/office/drawing/2014/main" id="{75E22A7A-83AD-4DE8-9CCC-AE0E4931F859}"/>
              </a:ext>
            </a:extLst>
          </p:cNvPr>
          <p:cNvSpPr>
            <a:spLocks noGrp="1"/>
          </p:cNvSpPr>
          <p:nvPr>
            <p:ph type="body" sz="quarter" idx="53" hasCustomPrompt="1"/>
          </p:nvPr>
        </p:nvSpPr>
        <p:spPr>
          <a:xfrm>
            <a:off x="277749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0" name="Marcador de texto 4">
            <a:extLst>
              <a:ext uri="{FF2B5EF4-FFF2-40B4-BE49-F238E27FC236}">
                <a16:creationId xmlns:a16="http://schemas.microsoft.com/office/drawing/2014/main" id="{61EA1515-C262-4ECD-8718-B29C6D0B814F}"/>
              </a:ext>
            </a:extLst>
          </p:cNvPr>
          <p:cNvSpPr>
            <a:spLocks noGrp="1"/>
          </p:cNvSpPr>
          <p:nvPr>
            <p:ph type="body" sz="quarter" idx="54" hasCustomPrompt="1"/>
          </p:nvPr>
        </p:nvSpPr>
        <p:spPr>
          <a:xfrm>
            <a:off x="512445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1" name="Marcador de texto 4">
            <a:extLst>
              <a:ext uri="{FF2B5EF4-FFF2-40B4-BE49-F238E27FC236}">
                <a16:creationId xmlns:a16="http://schemas.microsoft.com/office/drawing/2014/main" id="{E4667152-FA4A-4C86-ABB6-161FE5FCE057}"/>
              </a:ext>
            </a:extLst>
          </p:cNvPr>
          <p:cNvSpPr>
            <a:spLocks noGrp="1"/>
          </p:cNvSpPr>
          <p:nvPr>
            <p:ph type="body" sz="quarter" idx="55" hasCustomPrompt="1"/>
          </p:nvPr>
        </p:nvSpPr>
        <p:spPr>
          <a:xfrm>
            <a:off x="512445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2" name="Marcador de texto 4">
            <a:extLst>
              <a:ext uri="{FF2B5EF4-FFF2-40B4-BE49-F238E27FC236}">
                <a16:creationId xmlns:a16="http://schemas.microsoft.com/office/drawing/2014/main" id="{2D54F16F-5399-4DFF-81DD-05C3C290F378}"/>
              </a:ext>
            </a:extLst>
          </p:cNvPr>
          <p:cNvSpPr>
            <a:spLocks noGrp="1"/>
          </p:cNvSpPr>
          <p:nvPr>
            <p:ph type="body" sz="quarter" idx="56" hasCustomPrompt="1"/>
          </p:nvPr>
        </p:nvSpPr>
        <p:spPr>
          <a:xfrm>
            <a:off x="747141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3" name="Marcador de texto 4">
            <a:extLst>
              <a:ext uri="{FF2B5EF4-FFF2-40B4-BE49-F238E27FC236}">
                <a16:creationId xmlns:a16="http://schemas.microsoft.com/office/drawing/2014/main" id="{806D2E64-8015-4378-99D2-7F3FBB7CE667}"/>
              </a:ext>
            </a:extLst>
          </p:cNvPr>
          <p:cNvSpPr>
            <a:spLocks noGrp="1"/>
          </p:cNvSpPr>
          <p:nvPr>
            <p:ph type="body" sz="quarter" idx="57" hasCustomPrompt="1"/>
          </p:nvPr>
        </p:nvSpPr>
        <p:spPr>
          <a:xfrm>
            <a:off x="747141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4" name="Marcador de texto 4">
            <a:extLst>
              <a:ext uri="{FF2B5EF4-FFF2-40B4-BE49-F238E27FC236}">
                <a16:creationId xmlns:a16="http://schemas.microsoft.com/office/drawing/2014/main" id="{88D31CE1-EB33-4F4E-A333-90BC91B72F02}"/>
              </a:ext>
            </a:extLst>
          </p:cNvPr>
          <p:cNvSpPr>
            <a:spLocks noGrp="1"/>
          </p:cNvSpPr>
          <p:nvPr>
            <p:ph type="body" sz="quarter" idx="58" hasCustomPrompt="1"/>
          </p:nvPr>
        </p:nvSpPr>
        <p:spPr>
          <a:xfrm>
            <a:off x="981837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5" name="Marcador de texto 4">
            <a:extLst>
              <a:ext uri="{FF2B5EF4-FFF2-40B4-BE49-F238E27FC236}">
                <a16:creationId xmlns:a16="http://schemas.microsoft.com/office/drawing/2014/main" id="{1EA41D21-AEBA-4211-B673-E31BF64338BF}"/>
              </a:ext>
            </a:extLst>
          </p:cNvPr>
          <p:cNvSpPr>
            <a:spLocks noGrp="1"/>
          </p:cNvSpPr>
          <p:nvPr>
            <p:ph type="body" sz="quarter" idx="59" hasCustomPrompt="1"/>
          </p:nvPr>
        </p:nvSpPr>
        <p:spPr>
          <a:xfrm>
            <a:off x="981837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4027856028"/>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Texts and obje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8" name="Marcador de texto 4">
            <a:extLst>
              <a:ext uri="{FF2B5EF4-FFF2-40B4-BE49-F238E27FC236}">
                <a16:creationId xmlns:a16="http://schemas.microsoft.com/office/drawing/2014/main" id="{6AD90256-1F21-4D4E-8047-4EB7E526CDE5}"/>
              </a:ext>
            </a:extLst>
          </p:cNvPr>
          <p:cNvSpPr>
            <a:spLocks noGrp="1"/>
          </p:cNvSpPr>
          <p:nvPr>
            <p:ph type="body" sz="quarter" idx="52" hasCustomPrompt="1"/>
          </p:nvPr>
        </p:nvSpPr>
        <p:spPr>
          <a:xfrm>
            <a:off x="277749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9" name="Marcador de texto 4">
            <a:extLst>
              <a:ext uri="{FF2B5EF4-FFF2-40B4-BE49-F238E27FC236}">
                <a16:creationId xmlns:a16="http://schemas.microsoft.com/office/drawing/2014/main" id="{75E22A7A-83AD-4DE8-9CCC-AE0E4931F859}"/>
              </a:ext>
            </a:extLst>
          </p:cNvPr>
          <p:cNvSpPr>
            <a:spLocks noGrp="1"/>
          </p:cNvSpPr>
          <p:nvPr>
            <p:ph type="body" sz="quarter" idx="53" hasCustomPrompt="1"/>
          </p:nvPr>
        </p:nvSpPr>
        <p:spPr>
          <a:xfrm>
            <a:off x="277749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0" name="Marcador de texto 4">
            <a:extLst>
              <a:ext uri="{FF2B5EF4-FFF2-40B4-BE49-F238E27FC236}">
                <a16:creationId xmlns:a16="http://schemas.microsoft.com/office/drawing/2014/main" id="{61EA1515-C262-4ECD-8718-B29C6D0B814F}"/>
              </a:ext>
            </a:extLst>
          </p:cNvPr>
          <p:cNvSpPr>
            <a:spLocks noGrp="1"/>
          </p:cNvSpPr>
          <p:nvPr>
            <p:ph type="body" sz="quarter" idx="54" hasCustomPrompt="1"/>
          </p:nvPr>
        </p:nvSpPr>
        <p:spPr>
          <a:xfrm>
            <a:off x="512445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1" name="Marcador de texto 4">
            <a:extLst>
              <a:ext uri="{FF2B5EF4-FFF2-40B4-BE49-F238E27FC236}">
                <a16:creationId xmlns:a16="http://schemas.microsoft.com/office/drawing/2014/main" id="{E4667152-FA4A-4C86-ABB6-161FE5FCE057}"/>
              </a:ext>
            </a:extLst>
          </p:cNvPr>
          <p:cNvSpPr>
            <a:spLocks noGrp="1"/>
          </p:cNvSpPr>
          <p:nvPr>
            <p:ph type="body" sz="quarter" idx="55" hasCustomPrompt="1"/>
          </p:nvPr>
        </p:nvSpPr>
        <p:spPr>
          <a:xfrm>
            <a:off x="512445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2" name="Marcador de texto 4">
            <a:extLst>
              <a:ext uri="{FF2B5EF4-FFF2-40B4-BE49-F238E27FC236}">
                <a16:creationId xmlns:a16="http://schemas.microsoft.com/office/drawing/2014/main" id="{2D54F16F-5399-4DFF-81DD-05C3C290F378}"/>
              </a:ext>
            </a:extLst>
          </p:cNvPr>
          <p:cNvSpPr>
            <a:spLocks noGrp="1"/>
          </p:cNvSpPr>
          <p:nvPr>
            <p:ph type="body" sz="quarter" idx="56" hasCustomPrompt="1"/>
          </p:nvPr>
        </p:nvSpPr>
        <p:spPr>
          <a:xfrm>
            <a:off x="747141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3" name="Marcador de texto 4">
            <a:extLst>
              <a:ext uri="{FF2B5EF4-FFF2-40B4-BE49-F238E27FC236}">
                <a16:creationId xmlns:a16="http://schemas.microsoft.com/office/drawing/2014/main" id="{806D2E64-8015-4378-99D2-7F3FBB7CE667}"/>
              </a:ext>
            </a:extLst>
          </p:cNvPr>
          <p:cNvSpPr>
            <a:spLocks noGrp="1"/>
          </p:cNvSpPr>
          <p:nvPr>
            <p:ph type="body" sz="quarter" idx="57" hasCustomPrompt="1"/>
          </p:nvPr>
        </p:nvSpPr>
        <p:spPr>
          <a:xfrm>
            <a:off x="747141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4" name="Marcador de texto 4">
            <a:extLst>
              <a:ext uri="{FF2B5EF4-FFF2-40B4-BE49-F238E27FC236}">
                <a16:creationId xmlns:a16="http://schemas.microsoft.com/office/drawing/2014/main" id="{88D31CE1-EB33-4F4E-A333-90BC91B72F02}"/>
              </a:ext>
            </a:extLst>
          </p:cNvPr>
          <p:cNvSpPr>
            <a:spLocks noGrp="1"/>
          </p:cNvSpPr>
          <p:nvPr>
            <p:ph type="body" sz="quarter" idx="58" hasCustomPrompt="1"/>
          </p:nvPr>
        </p:nvSpPr>
        <p:spPr>
          <a:xfrm>
            <a:off x="981837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5" name="Marcador de texto 4">
            <a:extLst>
              <a:ext uri="{FF2B5EF4-FFF2-40B4-BE49-F238E27FC236}">
                <a16:creationId xmlns:a16="http://schemas.microsoft.com/office/drawing/2014/main" id="{1EA41D21-AEBA-4211-B673-E31BF64338BF}"/>
              </a:ext>
            </a:extLst>
          </p:cNvPr>
          <p:cNvSpPr>
            <a:spLocks noGrp="1"/>
          </p:cNvSpPr>
          <p:nvPr>
            <p:ph type="body" sz="quarter" idx="59" hasCustomPrompt="1"/>
          </p:nvPr>
        </p:nvSpPr>
        <p:spPr>
          <a:xfrm>
            <a:off x="981837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 name="Marcador de contenido 2">
            <a:extLst>
              <a:ext uri="{FF2B5EF4-FFF2-40B4-BE49-F238E27FC236}">
                <a16:creationId xmlns:a16="http://schemas.microsoft.com/office/drawing/2014/main" id="{821A45D9-B8C5-434B-A776-D67A978AD4A9}"/>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1154454055"/>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0" name="Marcador de texto 4">
            <a:extLst>
              <a:ext uri="{FF2B5EF4-FFF2-40B4-BE49-F238E27FC236}">
                <a16:creationId xmlns:a16="http://schemas.microsoft.com/office/drawing/2014/main" id="{F9CF7978-9721-43A9-9A6E-683593D649FE}"/>
              </a:ext>
            </a:extLst>
          </p:cNvPr>
          <p:cNvSpPr>
            <a:spLocks noGrp="1"/>
          </p:cNvSpPr>
          <p:nvPr>
            <p:ph type="body" sz="quarter" idx="56" hasCustomPrompt="1"/>
          </p:nvPr>
        </p:nvSpPr>
        <p:spPr>
          <a:xfrm>
            <a:off x="43053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1" name="Marcador de texto 4">
            <a:extLst>
              <a:ext uri="{FF2B5EF4-FFF2-40B4-BE49-F238E27FC236}">
                <a16:creationId xmlns:a16="http://schemas.microsoft.com/office/drawing/2014/main" id="{A92C6E7E-1B9A-4B5B-8786-9427101847CB}"/>
              </a:ext>
            </a:extLst>
          </p:cNvPr>
          <p:cNvSpPr>
            <a:spLocks noGrp="1"/>
          </p:cNvSpPr>
          <p:nvPr>
            <p:ph type="body" sz="quarter" idx="57" hasCustomPrompt="1"/>
          </p:nvPr>
        </p:nvSpPr>
        <p:spPr>
          <a:xfrm>
            <a:off x="43053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2" name="Marcador de texto 4">
            <a:extLst>
              <a:ext uri="{FF2B5EF4-FFF2-40B4-BE49-F238E27FC236}">
                <a16:creationId xmlns:a16="http://schemas.microsoft.com/office/drawing/2014/main" id="{9FA8B101-54B2-47F7-9319-DA50FABCBE5B}"/>
              </a:ext>
            </a:extLst>
          </p:cNvPr>
          <p:cNvSpPr>
            <a:spLocks noGrp="1"/>
          </p:cNvSpPr>
          <p:nvPr>
            <p:ph type="body" sz="quarter" idx="58" hasCustomPrompt="1"/>
          </p:nvPr>
        </p:nvSpPr>
        <p:spPr>
          <a:xfrm>
            <a:off x="442341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3" name="Marcador de texto 4">
            <a:extLst>
              <a:ext uri="{FF2B5EF4-FFF2-40B4-BE49-F238E27FC236}">
                <a16:creationId xmlns:a16="http://schemas.microsoft.com/office/drawing/2014/main" id="{26537227-D7EB-4CCD-810A-72C09E92618C}"/>
              </a:ext>
            </a:extLst>
          </p:cNvPr>
          <p:cNvSpPr>
            <a:spLocks noGrp="1"/>
          </p:cNvSpPr>
          <p:nvPr>
            <p:ph type="body" sz="quarter" idx="59" hasCustomPrompt="1"/>
          </p:nvPr>
        </p:nvSpPr>
        <p:spPr>
          <a:xfrm>
            <a:off x="442341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4" name="Marcador de texto 4">
            <a:extLst>
              <a:ext uri="{FF2B5EF4-FFF2-40B4-BE49-F238E27FC236}">
                <a16:creationId xmlns:a16="http://schemas.microsoft.com/office/drawing/2014/main" id="{79D245BF-7879-489A-BAB7-C9F6130998F5}"/>
              </a:ext>
            </a:extLst>
          </p:cNvPr>
          <p:cNvSpPr>
            <a:spLocks noGrp="1"/>
          </p:cNvSpPr>
          <p:nvPr>
            <p:ph type="body" sz="quarter" idx="60" hasCustomPrompt="1"/>
          </p:nvPr>
        </p:nvSpPr>
        <p:spPr>
          <a:xfrm>
            <a:off x="841629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5" name="Marcador de texto 4">
            <a:extLst>
              <a:ext uri="{FF2B5EF4-FFF2-40B4-BE49-F238E27FC236}">
                <a16:creationId xmlns:a16="http://schemas.microsoft.com/office/drawing/2014/main" id="{5AA661E4-FA7A-4915-AA9E-67B0BAD696B6}"/>
              </a:ext>
            </a:extLst>
          </p:cNvPr>
          <p:cNvSpPr>
            <a:spLocks noGrp="1"/>
          </p:cNvSpPr>
          <p:nvPr>
            <p:ph type="body" sz="quarter" idx="61" hasCustomPrompt="1"/>
          </p:nvPr>
        </p:nvSpPr>
        <p:spPr>
          <a:xfrm>
            <a:off x="841629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2024953883"/>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cepts with icons">
    <p:spTree>
      <p:nvGrpSpPr>
        <p:cNvPr id="1" name=""/>
        <p:cNvGrpSpPr/>
        <p:nvPr/>
      </p:nvGrpSpPr>
      <p:grpSpPr>
        <a:xfrm>
          <a:off x="0" y="0"/>
          <a:ext cx="0" cy="0"/>
          <a:chOff x="0" y="0"/>
          <a:chExt cx="0" cy="0"/>
        </a:xfrm>
      </p:grpSpPr>
      <p:sp>
        <p:nvSpPr>
          <p:cNvPr id="10" name="Marcador de texto 4">
            <a:extLst>
              <a:ext uri="{FF2B5EF4-FFF2-40B4-BE49-F238E27FC236}">
                <a16:creationId xmlns:a16="http://schemas.microsoft.com/office/drawing/2014/main" id="{CC2FBE8A-CB65-4639-BE93-14FFE6CC88BD}"/>
              </a:ext>
            </a:extLst>
          </p:cNvPr>
          <p:cNvSpPr>
            <a:spLocks noGrp="1"/>
          </p:cNvSpPr>
          <p:nvPr>
            <p:ph type="body" sz="quarter" idx="24" hasCustomPrompt="1"/>
          </p:nvPr>
        </p:nvSpPr>
        <p:spPr>
          <a:xfrm>
            <a:off x="451961" y="2222500"/>
            <a:ext cx="4348641"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4" name="Marcador de texto 4">
            <a:extLst>
              <a:ext uri="{FF2B5EF4-FFF2-40B4-BE49-F238E27FC236}">
                <a16:creationId xmlns:a16="http://schemas.microsoft.com/office/drawing/2014/main" id="{9B0B5EDF-8213-4E5E-BBAB-F8DEAA36F462}"/>
              </a:ext>
            </a:extLst>
          </p:cNvPr>
          <p:cNvSpPr>
            <a:spLocks noGrp="1"/>
          </p:cNvSpPr>
          <p:nvPr>
            <p:ph type="body" sz="quarter" idx="47" hasCustomPrompt="1"/>
          </p:nvPr>
        </p:nvSpPr>
        <p:spPr>
          <a:xfrm>
            <a:off x="442915" y="1836420"/>
            <a:ext cx="4357687"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1" name="Marcador de texto 5">
            <a:extLst>
              <a:ext uri="{FF2B5EF4-FFF2-40B4-BE49-F238E27FC236}">
                <a16:creationId xmlns:a16="http://schemas.microsoft.com/office/drawing/2014/main" id="{47C1F83D-8FEE-5C4E-9D16-6DBBE6AE8A62}"/>
              </a:ext>
            </a:extLst>
          </p:cNvPr>
          <p:cNvSpPr>
            <a:spLocks noGrp="1"/>
          </p:cNvSpPr>
          <p:nvPr>
            <p:ph type="body" sz="quarter" idx="16" hasCustomPrompt="1"/>
          </p:nvPr>
        </p:nvSpPr>
        <p:spPr>
          <a:xfrm>
            <a:off x="5392933" y="3504687"/>
            <a:ext cx="1924494" cy="335797"/>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3" name="Marcador de texto 5">
            <a:extLst>
              <a:ext uri="{FF2B5EF4-FFF2-40B4-BE49-F238E27FC236}">
                <a16:creationId xmlns:a16="http://schemas.microsoft.com/office/drawing/2014/main" id="{781D2781-599C-054E-9531-5EE9D90701BF}"/>
              </a:ext>
            </a:extLst>
          </p:cNvPr>
          <p:cNvSpPr>
            <a:spLocks noGrp="1"/>
          </p:cNvSpPr>
          <p:nvPr>
            <p:ph type="body" sz="quarter" idx="48" hasCustomPrompt="1"/>
          </p:nvPr>
        </p:nvSpPr>
        <p:spPr>
          <a:xfrm>
            <a:off x="7612922" y="2951791"/>
            <a:ext cx="1924494" cy="31719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6" name="Marcador de texto 5">
            <a:extLst>
              <a:ext uri="{FF2B5EF4-FFF2-40B4-BE49-F238E27FC236}">
                <a16:creationId xmlns:a16="http://schemas.microsoft.com/office/drawing/2014/main" id="{7A24E957-D9F9-104C-A759-0F986B4FC5BD}"/>
              </a:ext>
            </a:extLst>
          </p:cNvPr>
          <p:cNvSpPr>
            <a:spLocks noGrp="1"/>
          </p:cNvSpPr>
          <p:nvPr>
            <p:ph type="body" sz="quarter" idx="49" hasCustomPrompt="1"/>
          </p:nvPr>
        </p:nvSpPr>
        <p:spPr>
          <a:xfrm>
            <a:off x="9803220" y="2398898"/>
            <a:ext cx="1924494" cy="313822"/>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8" name="Título 1">
            <a:extLst>
              <a:ext uri="{FF2B5EF4-FFF2-40B4-BE49-F238E27FC236}">
                <a16:creationId xmlns:a16="http://schemas.microsoft.com/office/drawing/2014/main" id="{03364819-BC4E-4452-BA23-03F03EC78660}"/>
              </a:ext>
            </a:extLst>
          </p:cNvPr>
          <p:cNvSpPr>
            <a:spLocks noGrp="1"/>
          </p:cNvSpPr>
          <p:nvPr>
            <p:ph type="ctrTitle" hasCustomPrompt="1"/>
          </p:nvPr>
        </p:nvSpPr>
        <p:spPr>
          <a:xfrm>
            <a:off x="439260" y="939173"/>
            <a:ext cx="4375787"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9" name="Conector recto 18">
            <a:extLst>
              <a:ext uri="{FF2B5EF4-FFF2-40B4-BE49-F238E27FC236}">
                <a16:creationId xmlns:a16="http://schemas.microsoft.com/office/drawing/2014/main" id="{7A096C12-70EB-495B-B8B1-7E6E9F7E9EB8}"/>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Marcador de texto 4">
            <a:extLst>
              <a:ext uri="{FF2B5EF4-FFF2-40B4-BE49-F238E27FC236}">
                <a16:creationId xmlns:a16="http://schemas.microsoft.com/office/drawing/2014/main" id="{75866655-1365-4A48-80E0-EBFD1B8C457B}"/>
              </a:ext>
            </a:extLst>
          </p:cNvPr>
          <p:cNvSpPr>
            <a:spLocks noGrp="1"/>
          </p:cNvSpPr>
          <p:nvPr>
            <p:ph type="body" sz="quarter" idx="50" hasCustomPrompt="1"/>
          </p:nvPr>
        </p:nvSpPr>
        <p:spPr>
          <a:xfrm>
            <a:off x="5389844" y="3855722"/>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C0BC5578-85AE-453E-90FE-6CC81995B7BC}"/>
              </a:ext>
            </a:extLst>
          </p:cNvPr>
          <p:cNvSpPr>
            <a:spLocks noGrp="1"/>
          </p:cNvSpPr>
          <p:nvPr>
            <p:ph type="body" sz="quarter" idx="51" hasCustomPrompt="1"/>
          </p:nvPr>
        </p:nvSpPr>
        <p:spPr>
          <a:xfrm>
            <a:off x="7612922" y="3288347"/>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2" name="Marcador de texto 4">
            <a:extLst>
              <a:ext uri="{FF2B5EF4-FFF2-40B4-BE49-F238E27FC236}">
                <a16:creationId xmlns:a16="http://schemas.microsoft.com/office/drawing/2014/main" id="{F903FB2E-FECB-43FD-A778-E1313EE438B5}"/>
              </a:ext>
            </a:extLst>
          </p:cNvPr>
          <p:cNvSpPr>
            <a:spLocks noGrp="1"/>
          </p:cNvSpPr>
          <p:nvPr>
            <p:ph type="body" sz="quarter" idx="52" hasCustomPrompt="1"/>
          </p:nvPr>
        </p:nvSpPr>
        <p:spPr>
          <a:xfrm>
            <a:off x="9810047" y="2731179"/>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Tree>
    <p:extLst>
      <p:ext uri="{BB962C8B-B14F-4D97-AF65-F5344CB8AC3E}">
        <p14:creationId xmlns:p14="http://schemas.microsoft.com/office/powerpoint/2010/main" val="278085339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text columns">
    <p:spTree>
      <p:nvGrpSpPr>
        <p:cNvPr id="1" name=""/>
        <p:cNvGrpSpPr/>
        <p:nvPr/>
      </p:nvGrpSpPr>
      <p:grpSpPr>
        <a:xfrm>
          <a:off x="0" y="0"/>
          <a:ext cx="0" cy="0"/>
          <a:chOff x="0" y="0"/>
          <a:chExt cx="0" cy="0"/>
        </a:xfrm>
      </p:grpSpPr>
      <p:sp>
        <p:nvSpPr>
          <p:cNvPr id="11" name="Marcador de texto 5">
            <a:extLst>
              <a:ext uri="{FF2B5EF4-FFF2-40B4-BE49-F238E27FC236}">
                <a16:creationId xmlns:a16="http://schemas.microsoft.com/office/drawing/2014/main" id="{47C1F83D-8FEE-5C4E-9D16-6DBBE6AE8A62}"/>
              </a:ext>
            </a:extLst>
          </p:cNvPr>
          <p:cNvSpPr>
            <a:spLocks noGrp="1"/>
          </p:cNvSpPr>
          <p:nvPr>
            <p:ph type="body" sz="quarter" idx="16" hasCustomPrompt="1"/>
          </p:nvPr>
        </p:nvSpPr>
        <p:spPr>
          <a:xfrm>
            <a:off x="5390708"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2" name="Conector recto 11">
            <a:extLst>
              <a:ext uri="{FF2B5EF4-FFF2-40B4-BE49-F238E27FC236}">
                <a16:creationId xmlns:a16="http://schemas.microsoft.com/office/drawing/2014/main" id="{1D2E9031-3A36-AE46-B493-4A5EB019925B}"/>
              </a:ext>
            </a:extLst>
          </p:cNvPr>
          <p:cNvCxnSpPr>
            <a:cxnSpLocks/>
          </p:cNvCxnSpPr>
          <p:nvPr userDrawn="1"/>
        </p:nvCxnSpPr>
        <p:spPr>
          <a:xfrm>
            <a:off x="5370525"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arcador de texto 5">
            <a:extLst>
              <a:ext uri="{FF2B5EF4-FFF2-40B4-BE49-F238E27FC236}">
                <a16:creationId xmlns:a16="http://schemas.microsoft.com/office/drawing/2014/main" id="{781D2781-599C-054E-9531-5EE9D90701BF}"/>
              </a:ext>
            </a:extLst>
          </p:cNvPr>
          <p:cNvSpPr>
            <a:spLocks noGrp="1"/>
          </p:cNvSpPr>
          <p:nvPr>
            <p:ph type="body" sz="quarter" idx="48" hasCustomPrompt="1"/>
          </p:nvPr>
        </p:nvSpPr>
        <p:spPr>
          <a:xfrm>
            <a:off x="7581016"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5" name="Conector recto 14">
            <a:extLst>
              <a:ext uri="{FF2B5EF4-FFF2-40B4-BE49-F238E27FC236}">
                <a16:creationId xmlns:a16="http://schemas.microsoft.com/office/drawing/2014/main" id="{679A56D5-4D24-A944-80D7-7D5EAD0CF4DF}"/>
              </a:ext>
            </a:extLst>
          </p:cNvPr>
          <p:cNvCxnSpPr>
            <a:cxnSpLocks/>
          </p:cNvCxnSpPr>
          <p:nvPr userDrawn="1"/>
        </p:nvCxnSpPr>
        <p:spPr>
          <a:xfrm>
            <a:off x="7560830"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texto 5">
            <a:extLst>
              <a:ext uri="{FF2B5EF4-FFF2-40B4-BE49-F238E27FC236}">
                <a16:creationId xmlns:a16="http://schemas.microsoft.com/office/drawing/2014/main" id="{7A24E957-D9F9-104C-A759-0F986B4FC5BD}"/>
              </a:ext>
            </a:extLst>
          </p:cNvPr>
          <p:cNvSpPr>
            <a:spLocks noGrp="1"/>
          </p:cNvSpPr>
          <p:nvPr>
            <p:ph type="body" sz="quarter" idx="49" hasCustomPrompt="1"/>
          </p:nvPr>
        </p:nvSpPr>
        <p:spPr>
          <a:xfrm>
            <a:off x="9792579"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7" name="Conector recto 16">
            <a:extLst>
              <a:ext uri="{FF2B5EF4-FFF2-40B4-BE49-F238E27FC236}">
                <a16:creationId xmlns:a16="http://schemas.microsoft.com/office/drawing/2014/main" id="{6E23DF16-4F86-5346-AA0C-5F70A3BCECD4}"/>
              </a:ext>
            </a:extLst>
          </p:cNvPr>
          <p:cNvCxnSpPr>
            <a:cxnSpLocks/>
          </p:cNvCxnSpPr>
          <p:nvPr userDrawn="1"/>
        </p:nvCxnSpPr>
        <p:spPr>
          <a:xfrm>
            <a:off x="9772397"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5">
            <a:extLst>
              <a:ext uri="{FF2B5EF4-FFF2-40B4-BE49-F238E27FC236}">
                <a16:creationId xmlns:a16="http://schemas.microsoft.com/office/drawing/2014/main" id="{68123552-AD5A-BE44-9D1A-6A59A1ECF624}"/>
              </a:ext>
            </a:extLst>
          </p:cNvPr>
          <p:cNvSpPr>
            <a:spLocks noGrp="1"/>
          </p:cNvSpPr>
          <p:nvPr>
            <p:ph type="body" sz="quarter" idx="50" hasCustomPrompt="1"/>
          </p:nvPr>
        </p:nvSpPr>
        <p:spPr>
          <a:xfrm>
            <a:off x="5390708"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5">
            <a:extLst>
              <a:ext uri="{FF2B5EF4-FFF2-40B4-BE49-F238E27FC236}">
                <a16:creationId xmlns:a16="http://schemas.microsoft.com/office/drawing/2014/main" id="{01419B87-68DC-1A4C-A9F9-F4ECC210083A}"/>
              </a:ext>
            </a:extLst>
          </p:cNvPr>
          <p:cNvSpPr>
            <a:spLocks noGrp="1"/>
          </p:cNvSpPr>
          <p:nvPr>
            <p:ph type="body" sz="quarter" idx="51" hasCustomPrompt="1"/>
          </p:nvPr>
        </p:nvSpPr>
        <p:spPr>
          <a:xfrm>
            <a:off x="7581016"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5">
            <a:extLst>
              <a:ext uri="{FF2B5EF4-FFF2-40B4-BE49-F238E27FC236}">
                <a16:creationId xmlns:a16="http://schemas.microsoft.com/office/drawing/2014/main" id="{57A669EE-3D1E-6447-ABA4-DD7FF20C1A77}"/>
              </a:ext>
            </a:extLst>
          </p:cNvPr>
          <p:cNvSpPr>
            <a:spLocks noGrp="1"/>
          </p:cNvSpPr>
          <p:nvPr>
            <p:ph type="body" sz="quarter" idx="52" hasCustomPrompt="1"/>
          </p:nvPr>
        </p:nvSpPr>
        <p:spPr>
          <a:xfrm>
            <a:off x="9792579"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Título 1">
            <a:extLst>
              <a:ext uri="{FF2B5EF4-FFF2-40B4-BE49-F238E27FC236}">
                <a16:creationId xmlns:a16="http://schemas.microsoft.com/office/drawing/2014/main" id="{AEF3572F-6DBD-454B-A6F6-E1382E1B214A}"/>
              </a:ext>
            </a:extLst>
          </p:cNvPr>
          <p:cNvSpPr>
            <a:spLocks noGrp="1"/>
          </p:cNvSpPr>
          <p:nvPr>
            <p:ph type="ctrTitle" hasCustomPrompt="1"/>
          </p:nvPr>
        </p:nvSpPr>
        <p:spPr>
          <a:xfrm>
            <a:off x="439259" y="939173"/>
            <a:ext cx="4361342" cy="457516"/>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24" name="Conector recto 23">
            <a:extLst>
              <a:ext uri="{FF2B5EF4-FFF2-40B4-BE49-F238E27FC236}">
                <a16:creationId xmlns:a16="http://schemas.microsoft.com/office/drawing/2014/main" id="{3F6F408C-A266-4E90-99B1-D06BCEE3A177}"/>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Marcador de texto 4">
            <a:extLst>
              <a:ext uri="{FF2B5EF4-FFF2-40B4-BE49-F238E27FC236}">
                <a16:creationId xmlns:a16="http://schemas.microsoft.com/office/drawing/2014/main" id="{911B24E5-F7B4-4F7E-A55D-20FABBF7325B}"/>
              </a:ext>
            </a:extLst>
          </p:cNvPr>
          <p:cNvSpPr>
            <a:spLocks noGrp="1"/>
          </p:cNvSpPr>
          <p:nvPr>
            <p:ph type="body" sz="quarter" idx="24" hasCustomPrompt="1"/>
          </p:nvPr>
        </p:nvSpPr>
        <p:spPr>
          <a:xfrm>
            <a:off x="462775" y="2127568"/>
            <a:ext cx="4348641"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2" name="Marcador de texto 4">
            <a:extLst>
              <a:ext uri="{FF2B5EF4-FFF2-40B4-BE49-F238E27FC236}">
                <a16:creationId xmlns:a16="http://schemas.microsoft.com/office/drawing/2014/main" id="{AE78003B-C508-4826-B806-B6F55E205E18}"/>
              </a:ext>
            </a:extLst>
          </p:cNvPr>
          <p:cNvSpPr>
            <a:spLocks noGrp="1"/>
          </p:cNvSpPr>
          <p:nvPr>
            <p:ph type="body" sz="quarter" idx="47" hasCustomPrompt="1"/>
          </p:nvPr>
        </p:nvSpPr>
        <p:spPr>
          <a:xfrm>
            <a:off x="453729" y="1741488"/>
            <a:ext cx="4357687"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49053628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sp>
        <p:nvSpPr>
          <p:cNvPr id="30" name="Marcador de texto 4">
            <a:extLst>
              <a:ext uri="{FF2B5EF4-FFF2-40B4-BE49-F238E27FC236}">
                <a16:creationId xmlns:a16="http://schemas.microsoft.com/office/drawing/2014/main" id="{936ADA27-CEDF-41C7-A48F-06DB2227D1FB}"/>
              </a:ext>
            </a:extLst>
          </p:cNvPr>
          <p:cNvSpPr>
            <a:spLocks noGrp="1"/>
          </p:cNvSpPr>
          <p:nvPr>
            <p:ph type="body" sz="quarter" idx="31" hasCustomPrompt="1"/>
          </p:nvPr>
        </p:nvSpPr>
        <p:spPr>
          <a:xfrm>
            <a:off x="442915" y="1718244"/>
            <a:ext cx="1130617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5" y="2349500"/>
            <a:ext cx="11306175" cy="38877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21" name="Marcador de texto 4">
            <a:extLst>
              <a:ext uri="{FF2B5EF4-FFF2-40B4-BE49-F238E27FC236}">
                <a16:creationId xmlns:a16="http://schemas.microsoft.com/office/drawing/2014/main" id="{CB524C6F-854C-460E-B06B-DEA5F76FA890}"/>
              </a:ext>
            </a:extLst>
          </p:cNvPr>
          <p:cNvSpPr>
            <a:spLocks noGrp="1"/>
          </p:cNvSpPr>
          <p:nvPr>
            <p:ph type="body" sz="quarter" idx="66" hasCustomPrompt="1"/>
          </p:nvPr>
        </p:nvSpPr>
        <p:spPr>
          <a:xfrm>
            <a:off x="439261" y="1950439"/>
            <a:ext cx="11306175"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7" name="Título 1">
            <a:extLst>
              <a:ext uri="{FF2B5EF4-FFF2-40B4-BE49-F238E27FC236}">
                <a16:creationId xmlns:a16="http://schemas.microsoft.com/office/drawing/2014/main" id="{9D8B7694-2E23-425B-B59B-6E1BDBDF4598}"/>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8" name="Conector recto 7">
            <a:extLst>
              <a:ext uri="{FF2B5EF4-FFF2-40B4-BE49-F238E27FC236}">
                <a16:creationId xmlns:a16="http://schemas.microsoft.com/office/drawing/2014/main" id="{85027861-F774-4395-BD3A-2AABE01A5A00}"/>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593132"/>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ithout image lines">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C274D735-F031-C845-839C-9A10048D0899}"/>
              </a:ext>
            </a:extLst>
          </p:cNvPr>
          <p:cNvGrpSpPr/>
          <p:nvPr userDrawn="1"/>
        </p:nvGrpSpPr>
        <p:grpSpPr>
          <a:xfrm>
            <a:off x="-1" y="659219"/>
            <a:ext cx="12192001" cy="5497032"/>
            <a:chOff x="-1" y="659219"/>
            <a:chExt cx="12192001" cy="5497032"/>
          </a:xfrm>
          <a:solidFill>
            <a:schemeClr val="accent1"/>
          </a:solidFill>
        </p:grpSpPr>
        <p:sp>
          <p:nvSpPr>
            <p:cNvPr id="6" name="Rectángulo 5">
              <a:extLst>
                <a:ext uri="{FF2B5EF4-FFF2-40B4-BE49-F238E27FC236}">
                  <a16:creationId xmlns:a16="http://schemas.microsoft.com/office/drawing/2014/main" id="{0E055A1B-3660-8D4E-84DE-9ECFF1C17D2C}"/>
                </a:ext>
              </a:extLst>
            </p:cNvPr>
            <p:cNvSpPr/>
            <p:nvPr userDrawn="1"/>
          </p:nvSpPr>
          <p:spPr>
            <a:xfrm>
              <a:off x="0" y="659219"/>
              <a:ext cx="12192000" cy="4625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21" name="Rectángulo 20">
              <a:extLst>
                <a:ext uri="{FF2B5EF4-FFF2-40B4-BE49-F238E27FC236}">
                  <a16:creationId xmlns:a16="http://schemas.microsoft.com/office/drawing/2014/main" id="{FCFA1743-B97A-8445-9210-427788653070}"/>
                </a:ext>
              </a:extLst>
            </p:cNvPr>
            <p:cNvSpPr/>
            <p:nvPr userDrawn="1"/>
          </p:nvSpPr>
          <p:spPr>
            <a:xfrm>
              <a:off x="-1" y="1531089"/>
              <a:ext cx="6131441" cy="4625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grpSp>
        <p:nvGrpSpPr>
          <p:cNvPr id="3" name="Grupo 2">
            <a:extLst>
              <a:ext uri="{FF2B5EF4-FFF2-40B4-BE49-F238E27FC236}">
                <a16:creationId xmlns:a16="http://schemas.microsoft.com/office/drawing/2014/main" id="{A692D9AB-55D2-4FEF-AB87-63A37F188514}"/>
              </a:ext>
            </a:extLst>
          </p:cNvPr>
          <p:cNvGrpSpPr/>
          <p:nvPr userDrawn="1"/>
        </p:nvGrpSpPr>
        <p:grpSpPr>
          <a:xfrm>
            <a:off x="0" y="5283200"/>
            <a:ext cx="12192000" cy="1574800"/>
            <a:chOff x="0" y="5283200"/>
            <a:chExt cx="12192000" cy="1574800"/>
          </a:xfrm>
          <a:solidFill>
            <a:srgbClr val="F6F6F6"/>
          </a:solidFill>
        </p:grpSpPr>
        <p:sp>
          <p:nvSpPr>
            <p:cNvPr id="2" name="Rectángulo 1">
              <a:extLst>
                <a:ext uri="{FF2B5EF4-FFF2-40B4-BE49-F238E27FC236}">
                  <a16:creationId xmlns:a16="http://schemas.microsoft.com/office/drawing/2014/main" id="{29F681FB-F583-4820-AD17-9E9C1BDD22F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1" name="Rectángulo 10">
              <a:extLst>
                <a:ext uri="{FF2B5EF4-FFF2-40B4-BE49-F238E27FC236}">
                  <a16:creationId xmlns:a16="http://schemas.microsoft.com/office/drawing/2014/main" id="{526BA127-0739-4BAE-A142-EF04EACFC741}"/>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8" name="Conector recto 7">
            <a:extLst>
              <a:ext uri="{FF2B5EF4-FFF2-40B4-BE49-F238E27FC236}">
                <a16:creationId xmlns:a16="http://schemas.microsoft.com/office/drawing/2014/main" id="{2463B206-FC62-44A4-B652-071439897935}"/>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F57F08B7-24E5-4507-BECC-92162E75EA62}"/>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ítulo 1">
            <a:extLst>
              <a:ext uri="{FF2B5EF4-FFF2-40B4-BE49-F238E27FC236}">
                <a16:creationId xmlns:a16="http://schemas.microsoft.com/office/drawing/2014/main" id="{42B533C6-BE4E-480D-9817-DDFD46B0EDFC}"/>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out</a:t>
            </a:r>
            <a:r>
              <a:rPr lang="es-ES" dirty="0"/>
              <a:t> </a:t>
            </a:r>
            <a:r>
              <a:rPr lang="es-ES" dirty="0" err="1"/>
              <a:t>image</a:t>
            </a:r>
            <a:endParaRPr lang="es-ES" dirty="0"/>
          </a:p>
        </p:txBody>
      </p:sp>
      <p:sp>
        <p:nvSpPr>
          <p:cNvPr id="12" name="Marcador de texto 4">
            <a:extLst>
              <a:ext uri="{FF2B5EF4-FFF2-40B4-BE49-F238E27FC236}">
                <a16:creationId xmlns:a16="http://schemas.microsoft.com/office/drawing/2014/main" id="{059B38A0-6D1E-4B68-9B1F-A751104EBB36}"/>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3644931886"/>
      </p:ext>
    </p:extLst>
  </p:cSld>
  <p:clrMapOvr>
    <a:masterClrMapping/>
  </p:clrMapOvr>
  <p:extLst>
    <p:ext uri="{DCECCB84-F9BA-43D5-87BE-67443E8EF086}">
      <p15:sldGuideLst xmlns:p15="http://schemas.microsoft.com/office/powerpoint/2012/main">
        <p15:guide id="1" pos="279" userDrawn="1">
          <p15:clr>
            <a:srgbClr val="FBAE40"/>
          </p15:clr>
        </p15:guide>
        <p15:guide id="2" pos="386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6" y="2451100"/>
            <a:ext cx="5259386"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9" name="Marcador de gráfico 3">
            <a:extLst>
              <a:ext uri="{FF2B5EF4-FFF2-40B4-BE49-F238E27FC236}">
                <a16:creationId xmlns:a16="http://schemas.microsoft.com/office/drawing/2014/main" id="{F883A945-8B98-4C8F-858C-D5C32AED72DC}"/>
              </a:ext>
            </a:extLst>
          </p:cNvPr>
          <p:cNvSpPr>
            <a:spLocks noGrp="1"/>
          </p:cNvSpPr>
          <p:nvPr>
            <p:ph type="chart" sz="quarter" idx="67" hasCustomPrompt="1"/>
          </p:nvPr>
        </p:nvSpPr>
        <p:spPr>
          <a:xfrm>
            <a:off x="6494142" y="2451100"/>
            <a:ext cx="5259386"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4">
            <a:extLst>
              <a:ext uri="{FF2B5EF4-FFF2-40B4-BE49-F238E27FC236}">
                <a16:creationId xmlns:a16="http://schemas.microsoft.com/office/drawing/2014/main" id="{91A5C95F-C931-41D7-B684-67E170CFB625}"/>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5" name="Marcador de texto 4">
            <a:extLst>
              <a:ext uri="{FF2B5EF4-FFF2-40B4-BE49-F238E27FC236}">
                <a16:creationId xmlns:a16="http://schemas.microsoft.com/office/drawing/2014/main" id="{D54BF0D6-C959-4A80-81E5-2F5FB320AE6F}"/>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16" name="Marcador de texto 4">
            <a:extLst>
              <a:ext uri="{FF2B5EF4-FFF2-40B4-BE49-F238E27FC236}">
                <a16:creationId xmlns:a16="http://schemas.microsoft.com/office/drawing/2014/main" id="{70E2C192-9C51-40EA-BA3C-9FEF2008A715}"/>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7" name="Marcador de texto 4">
            <a:extLst>
              <a:ext uri="{FF2B5EF4-FFF2-40B4-BE49-F238E27FC236}">
                <a16:creationId xmlns:a16="http://schemas.microsoft.com/office/drawing/2014/main" id="{3E18A105-92ED-4D3F-9172-E546994C2FBE}"/>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080342750"/>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6"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4">
            <a:extLst>
              <a:ext uri="{FF2B5EF4-FFF2-40B4-BE49-F238E27FC236}">
                <a16:creationId xmlns:a16="http://schemas.microsoft.com/office/drawing/2014/main" id="{91A5C95F-C931-41D7-B684-67E170CFB625}"/>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5" name="Marcador de texto 4">
            <a:extLst>
              <a:ext uri="{FF2B5EF4-FFF2-40B4-BE49-F238E27FC236}">
                <a16:creationId xmlns:a16="http://schemas.microsoft.com/office/drawing/2014/main" id="{D54BF0D6-C959-4A80-81E5-2F5FB320AE6F}"/>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4" name="Marcador de gráfico 3">
            <a:extLst>
              <a:ext uri="{FF2B5EF4-FFF2-40B4-BE49-F238E27FC236}">
                <a16:creationId xmlns:a16="http://schemas.microsoft.com/office/drawing/2014/main" id="{FFDE05C2-EC9B-41FE-A4E0-FD8CA733210B}"/>
              </a:ext>
            </a:extLst>
          </p:cNvPr>
          <p:cNvSpPr>
            <a:spLocks noGrp="1"/>
          </p:cNvSpPr>
          <p:nvPr>
            <p:ph type="chart" sz="quarter" idx="67" hasCustomPrompt="1"/>
          </p:nvPr>
        </p:nvSpPr>
        <p:spPr>
          <a:xfrm>
            <a:off x="4297801"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5" name="Marcador de texto 4">
            <a:extLst>
              <a:ext uri="{FF2B5EF4-FFF2-40B4-BE49-F238E27FC236}">
                <a16:creationId xmlns:a16="http://schemas.microsoft.com/office/drawing/2014/main" id="{61011E59-E135-4A46-B920-4EEAB72ECC62}"/>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6" name="Marcador de texto 4">
            <a:extLst>
              <a:ext uri="{FF2B5EF4-FFF2-40B4-BE49-F238E27FC236}">
                <a16:creationId xmlns:a16="http://schemas.microsoft.com/office/drawing/2014/main" id="{1986B9A0-C3FE-4058-9F5B-03EF81CE9C13}"/>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7" name="Marcador de gráfico 3">
            <a:extLst>
              <a:ext uri="{FF2B5EF4-FFF2-40B4-BE49-F238E27FC236}">
                <a16:creationId xmlns:a16="http://schemas.microsoft.com/office/drawing/2014/main" id="{5520C83F-30B6-4BCC-AB1D-1F75B0265E0E}"/>
              </a:ext>
            </a:extLst>
          </p:cNvPr>
          <p:cNvSpPr>
            <a:spLocks noGrp="1"/>
          </p:cNvSpPr>
          <p:nvPr>
            <p:ph type="chart" sz="quarter" idx="70" hasCustomPrompt="1"/>
          </p:nvPr>
        </p:nvSpPr>
        <p:spPr>
          <a:xfrm>
            <a:off x="8152686"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8" name="Marcador de texto 4">
            <a:extLst>
              <a:ext uri="{FF2B5EF4-FFF2-40B4-BE49-F238E27FC236}">
                <a16:creationId xmlns:a16="http://schemas.microsoft.com/office/drawing/2014/main" id="{5DE466A1-7019-45C8-8C50-A9A774E7D09B}"/>
              </a:ext>
            </a:extLst>
          </p:cNvPr>
          <p:cNvSpPr>
            <a:spLocks noGrp="1"/>
          </p:cNvSpPr>
          <p:nvPr>
            <p:ph type="body" sz="quarter" idx="71"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9" name="Marcador de texto 4">
            <a:extLst>
              <a:ext uri="{FF2B5EF4-FFF2-40B4-BE49-F238E27FC236}">
                <a16:creationId xmlns:a16="http://schemas.microsoft.com/office/drawing/2014/main" id="{B6ADAB0D-5732-4B9A-B577-C10E8BAD8A69}"/>
              </a:ext>
            </a:extLst>
          </p:cNvPr>
          <p:cNvSpPr>
            <a:spLocks noGrp="1"/>
          </p:cNvSpPr>
          <p:nvPr>
            <p:ph type="body" sz="quarter" idx="72"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220213504"/>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harts _2">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gráfico 3">
            <a:extLst>
              <a:ext uri="{FF2B5EF4-FFF2-40B4-BE49-F238E27FC236}">
                <a16:creationId xmlns:a16="http://schemas.microsoft.com/office/drawing/2014/main" id="{A3C6F170-C4B2-4C33-B6E2-AFF0997A785E}"/>
              </a:ext>
            </a:extLst>
          </p:cNvPr>
          <p:cNvSpPr>
            <a:spLocks noGrp="1"/>
          </p:cNvSpPr>
          <p:nvPr>
            <p:ph type="chart" sz="quarter" idx="65" hasCustomPrompt="1"/>
          </p:nvPr>
        </p:nvSpPr>
        <p:spPr>
          <a:xfrm>
            <a:off x="44291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8" name="Marcador de texto 4">
            <a:extLst>
              <a:ext uri="{FF2B5EF4-FFF2-40B4-BE49-F238E27FC236}">
                <a16:creationId xmlns:a16="http://schemas.microsoft.com/office/drawing/2014/main" id="{46D3E3D1-894D-4B9F-AB65-2B96CBA30B52}"/>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9" name="Marcador de texto 4">
            <a:extLst>
              <a:ext uri="{FF2B5EF4-FFF2-40B4-BE49-F238E27FC236}">
                <a16:creationId xmlns:a16="http://schemas.microsoft.com/office/drawing/2014/main" id="{F719246B-170B-42F1-88B2-179571732171}"/>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1" name="Marcador de texto 4">
            <a:extLst>
              <a:ext uri="{FF2B5EF4-FFF2-40B4-BE49-F238E27FC236}">
                <a16:creationId xmlns:a16="http://schemas.microsoft.com/office/drawing/2014/main" id="{6F7CACFD-F146-4B47-A48B-A39BC28D2020}"/>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2" name="Marcador de texto 4">
            <a:extLst>
              <a:ext uri="{FF2B5EF4-FFF2-40B4-BE49-F238E27FC236}">
                <a16:creationId xmlns:a16="http://schemas.microsoft.com/office/drawing/2014/main" id="{13BEE8BC-0AE4-4BD0-A17D-39192BB483CC}"/>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3" name="Marcador de gráfico 3">
            <a:extLst>
              <a:ext uri="{FF2B5EF4-FFF2-40B4-BE49-F238E27FC236}">
                <a16:creationId xmlns:a16="http://schemas.microsoft.com/office/drawing/2014/main" id="{64F8FF50-291A-49EE-B380-42440B418EB4}"/>
              </a:ext>
            </a:extLst>
          </p:cNvPr>
          <p:cNvSpPr>
            <a:spLocks noGrp="1"/>
          </p:cNvSpPr>
          <p:nvPr>
            <p:ph type="chart" sz="quarter" idx="70" hasCustomPrompt="1"/>
          </p:nvPr>
        </p:nvSpPr>
        <p:spPr>
          <a:xfrm>
            <a:off x="649298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2" y="4466806"/>
            <a:ext cx="11309457" cy="1783685"/>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002422"/>
            <a:ext cx="11299916"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234617"/>
            <a:ext cx="11299916"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3316124080"/>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gráfico 3">
            <a:extLst>
              <a:ext uri="{FF2B5EF4-FFF2-40B4-BE49-F238E27FC236}">
                <a16:creationId xmlns:a16="http://schemas.microsoft.com/office/drawing/2014/main" id="{A3C6F170-C4B2-4C33-B6E2-AFF0997A785E}"/>
              </a:ext>
            </a:extLst>
          </p:cNvPr>
          <p:cNvSpPr>
            <a:spLocks noGrp="1"/>
          </p:cNvSpPr>
          <p:nvPr>
            <p:ph type="chart" sz="quarter" idx="65" hasCustomPrompt="1"/>
          </p:nvPr>
        </p:nvSpPr>
        <p:spPr>
          <a:xfrm>
            <a:off x="44291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8" name="Marcador de texto 4">
            <a:extLst>
              <a:ext uri="{FF2B5EF4-FFF2-40B4-BE49-F238E27FC236}">
                <a16:creationId xmlns:a16="http://schemas.microsoft.com/office/drawing/2014/main" id="{46D3E3D1-894D-4B9F-AB65-2B96CBA30B52}"/>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9" name="Marcador de texto 4">
            <a:extLst>
              <a:ext uri="{FF2B5EF4-FFF2-40B4-BE49-F238E27FC236}">
                <a16:creationId xmlns:a16="http://schemas.microsoft.com/office/drawing/2014/main" id="{F719246B-170B-42F1-88B2-179571732171}"/>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1" name="Marcador de texto 4">
            <a:extLst>
              <a:ext uri="{FF2B5EF4-FFF2-40B4-BE49-F238E27FC236}">
                <a16:creationId xmlns:a16="http://schemas.microsoft.com/office/drawing/2014/main" id="{6F7CACFD-F146-4B47-A48B-A39BC28D2020}"/>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2" name="Marcador de texto 4">
            <a:extLst>
              <a:ext uri="{FF2B5EF4-FFF2-40B4-BE49-F238E27FC236}">
                <a16:creationId xmlns:a16="http://schemas.microsoft.com/office/drawing/2014/main" id="{13BEE8BC-0AE4-4BD0-A17D-39192BB483CC}"/>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3" name="Marcador de gráfico 3">
            <a:extLst>
              <a:ext uri="{FF2B5EF4-FFF2-40B4-BE49-F238E27FC236}">
                <a16:creationId xmlns:a16="http://schemas.microsoft.com/office/drawing/2014/main" id="{64F8FF50-291A-49EE-B380-42440B418EB4}"/>
              </a:ext>
            </a:extLst>
          </p:cNvPr>
          <p:cNvSpPr>
            <a:spLocks noGrp="1"/>
          </p:cNvSpPr>
          <p:nvPr>
            <p:ph type="chart" sz="quarter" idx="70" hasCustomPrompt="1"/>
          </p:nvPr>
        </p:nvSpPr>
        <p:spPr>
          <a:xfrm>
            <a:off x="649298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3" name="Marcador de texto 4">
            <a:extLst>
              <a:ext uri="{FF2B5EF4-FFF2-40B4-BE49-F238E27FC236}">
                <a16:creationId xmlns:a16="http://schemas.microsoft.com/office/drawing/2014/main" id="{B075E24F-C158-407F-B786-101AC02188CD}"/>
              </a:ext>
            </a:extLst>
          </p:cNvPr>
          <p:cNvSpPr>
            <a:spLocks noGrp="1"/>
          </p:cNvSpPr>
          <p:nvPr>
            <p:ph type="body" sz="quarter" idx="74" hasCustomPrompt="1"/>
          </p:nvPr>
        </p:nvSpPr>
        <p:spPr>
          <a:xfrm>
            <a:off x="6493195"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4" name="Marcador de texto 4">
            <a:extLst>
              <a:ext uri="{FF2B5EF4-FFF2-40B4-BE49-F238E27FC236}">
                <a16:creationId xmlns:a16="http://schemas.microsoft.com/office/drawing/2014/main" id="{78210758-C83A-474B-AC73-6756E4891C7F}"/>
              </a:ext>
            </a:extLst>
          </p:cNvPr>
          <p:cNvSpPr>
            <a:spLocks noGrp="1"/>
          </p:cNvSpPr>
          <p:nvPr>
            <p:ph type="body" sz="quarter" idx="75" hasCustomPrompt="1"/>
          </p:nvPr>
        </p:nvSpPr>
        <p:spPr>
          <a:xfrm>
            <a:off x="6489541"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5" name="Marcador de gráfico 3">
            <a:extLst>
              <a:ext uri="{FF2B5EF4-FFF2-40B4-BE49-F238E27FC236}">
                <a16:creationId xmlns:a16="http://schemas.microsoft.com/office/drawing/2014/main" id="{CCB1F036-D17F-48BE-BE7D-D365A2356556}"/>
              </a:ext>
            </a:extLst>
          </p:cNvPr>
          <p:cNvSpPr>
            <a:spLocks noGrp="1"/>
          </p:cNvSpPr>
          <p:nvPr>
            <p:ph type="chart" sz="quarter" idx="76" hasCustomPrompt="1"/>
          </p:nvPr>
        </p:nvSpPr>
        <p:spPr>
          <a:xfrm>
            <a:off x="649298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Tree>
    <p:extLst>
      <p:ext uri="{BB962C8B-B14F-4D97-AF65-F5344CB8AC3E}">
        <p14:creationId xmlns:p14="http://schemas.microsoft.com/office/powerpoint/2010/main" val="3558574211"/>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3" name="Marcador de texto 4">
            <a:extLst>
              <a:ext uri="{FF2B5EF4-FFF2-40B4-BE49-F238E27FC236}">
                <a16:creationId xmlns:a16="http://schemas.microsoft.com/office/drawing/2014/main" id="{B075E24F-C158-407F-B786-101AC02188CD}"/>
              </a:ext>
            </a:extLst>
          </p:cNvPr>
          <p:cNvSpPr>
            <a:spLocks noGrp="1"/>
          </p:cNvSpPr>
          <p:nvPr>
            <p:ph type="body" sz="quarter" idx="74" hasCustomPrompt="1"/>
          </p:nvPr>
        </p:nvSpPr>
        <p:spPr>
          <a:xfrm>
            <a:off x="6493195"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4" name="Marcador de texto 4">
            <a:extLst>
              <a:ext uri="{FF2B5EF4-FFF2-40B4-BE49-F238E27FC236}">
                <a16:creationId xmlns:a16="http://schemas.microsoft.com/office/drawing/2014/main" id="{78210758-C83A-474B-AC73-6756E4891C7F}"/>
              </a:ext>
            </a:extLst>
          </p:cNvPr>
          <p:cNvSpPr>
            <a:spLocks noGrp="1"/>
          </p:cNvSpPr>
          <p:nvPr>
            <p:ph type="body" sz="quarter" idx="75" hasCustomPrompt="1"/>
          </p:nvPr>
        </p:nvSpPr>
        <p:spPr>
          <a:xfrm>
            <a:off x="6489541"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5" name="Marcador de gráfico 3">
            <a:extLst>
              <a:ext uri="{FF2B5EF4-FFF2-40B4-BE49-F238E27FC236}">
                <a16:creationId xmlns:a16="http://schemas.microsoft.com/office/drawing/2014/main" id="{CCB1F036-D17F-48BE-BE7D-D365A2356556}"/>
              </a:ext>
            </a:extLst>
          </p:cNvPr>
          <p:cNvSpPr>
            <a:spLocks noGrp="1"/>
          </p:cNvSpPr>
          <p:nvPr>
            <p:ph type="chart" sz="quarter" idx="76" hasCustomPrompt="1"/>
          </p:nvPr>
        </p:nvSpPr>
        <p:spPr>
          <a:xfrm>
            <a:off x="649298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7" name="Marcador de gráfico 3">
            <a:extLst>
              <a:ext uri="{FF2B5EF4-FFF2-40B4-BE49-F238E27FC236}">
                <a16:creationId xmlns:a16="http://schemas.microsoft.com/office/drawing/2014/main" id="{1BBED300-AE1D-4522-B424-4DF461F52876}"/>
              </a:ext>
            </a:extLst>
          </p:cNvPr>
          <p:cNvSpPr>
            <a:spLocks noGrp="1"/>
          </p:cNvSpPr>
          <p:nvPr>
            <p:ph type="chart" sz="quarter" idx="65" hasCustomPrompt="1"/>
          </p:nvPr>
        </p:nvSpPr>
        <p:spPr>
          <a:xfrm>
            <a:off x="442916"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0" name="Marcador de texto 4">
            <a:extLst>
              <a:ext uri="{FF2B5EF4-FFF2-40B4-BE49-F238E27FC236}">
                <a16:creationId xmlns:a16="http://schemas.microsoft.com/office/drawing/2014/main" id="{5D6713AF-077E-4E2D-A27C-D9619792B68E}"/>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4" name="Marcador de texto 4">
            <a:extLst>
              <a:ext uri="{FF2B5EF4-FFF2-40B4-BE49-F238E27FC236}">
                <a16:creationId xmlns:a16="http://schemas.microsoft.com/office/drawing/2014/main" id="{85ABDA6C-835E-4042-8B67-F99F2D15D02D}"/>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5" name="Marcador de gráfico 3">
            <a:extLst>
              <a:ext uri="{FF2B5EF4-FFF2-40B4-BE49-F238E27FC236}">
                <a16:creationId xmlns:a16="http://schemas.microsoft.com/office/drawing/2014/main" id="{F74077C6-A545-4B50-B95B-26A6F86B5B68}"/>
              </a:ext>
            </a:extLst>
          </p:cNvPr>
          <p:cNvSpPr>
            <a:spLocks noGrp="1"/>
          </p:cNvSpPr>
          <p:nvPr>
            <p:ph type="chart" sz="quarter" idx="67" hasCustomPrompt="1"/>
          </p:nvPr>
        </p:nvSpPr>
        <p:spPr>
          <a:xfrm>
            <a:off x="4297801"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6" name="Marcador de texto 4">
            <a:extLst>
              <a:ext uri="{FF2B5EF4-FFF2-40B4-BE49-F238E27FC236}">
                <a16:creationId xmlns:a16="http://schemas.microsoft.com/office/drawing/2014/main" id="{9E6E83DC-32BD-49D0-A082-494B760DB463}"/>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7" name="Marcador de texto 4">
            <a:extLst>
              <a:ext uri="{FF2B5EF4-FFF2-40B4-BE49-F238E27FC236}">
                <a16:creationId xmlns:a16="http://schemas.microsoft.com/office/drawing/2014/main" id="{BE0BBE6B-A71A-481A-9330-42A564D0683E}"/>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8" name="Marcador de gráfico 3">
            <a:extLst>
              <a:ext uri="{FF2B5EF4-FFF2-40B4-BE49-F238E27FC236}">
                <a16:creationId xmlns:a16="http://schemas.microsoft.com/office/drawing/2014/main" id="{23FF60E0-6A6C-4713-91EC-79101DBEED65}"/>
              </a:ext>
            </a:extLst>
          </p:cNvPr>
          <p:cNvSpPr>
            <a:spLocks noGrp="1"/>
          </p:cNvSpPr>
          <p:nvPr>
            <p:ph type="chart" sz="quarter" idx="70" hasCustomPrompt="1"/>
          </p:nvPr>
        </p:nvSpPr>
        <p:spPr>
          <a:xfrm>
            <a:off x="8152686"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9" name="Marcador de texto 4">
            <a:extLst>
              <a:ext uri="{FF2B5EF4-FFF2-40B4-BE49-F238E27FC236}">
                <a16:creationId xmlns:a16="http://schemas.microsoft.com/office/drawing/2014/main" id="{D64A3392-1A51-4783-B910-26BDD5D2062C}"/>
              </a:ext>
            </a:extLst>
          </p:cNvPr>
          <p:cNvSpPr>
            <a:spLocks noGrp="1"/>
          </p:cNvSpPr>
          <p:nvPr>
            <p:ph type="body" sz="quarter" idx="77"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6" name="Marcador de texto 4">
            <a:extLst>
              <a:ext uri="{FF2B5EF4-FFF2-40B4-BE49-F238E27FC236}">
                <a16:creationId xmlns:a16="http://schemas.microsoft.com/office/drawing/2014/main" id="{4ACAD040-4D07-4AD7-B2EB-1925E983328F}"/>
              </a:ext>
            </a:extLst>
          </p:cNvPr>
          <p:cNvSpPr>
            <a:spLocks noGrp="1"/>
          </p:cNvSpPr>
          <p:nvPr>
            <p:ph type="body" sz="quarter" idx="78"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795067299"/>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gráfico 3">
            <a:extLst>
              <a:ext uri="{FF2B5EF4-FFF2-40B4-BE49-F238E27FC236}">
                <a16:creationId xmlns:a16="http://schemas.microsoft.com/office/drawing/2014/main" id="{1BBED300-AE1D-4522-B424-4DF461F52876}"/>
              </a:ext>
            </a:extLst>
          </p:cNvPr>
          <p:cNvSpPr>
            <a:spLocks noGrp="1"/>
          </p:cNvSpPr>
          <p:nvPr>
            <p:ph type="chart" sz="quarter" idx="65" hasCustomPrompt="1"/>
          </p:nvPr>
        </p:nvSpPr>
        <p:spPr>
          <a:xfrm>
            <a:off x="442916"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0" name="Marcador de texto 4">
            <a:extLst>
              <a:ext uri="{FF2B5EF4-FFF2-40B4-BE49-F238E27FC236}">
                <a16:creationId xmlns:a16="http://schemas.microsoft.com/office/drawing/2014/main" id="{5D6713AF-077E-4E2D-A27C-D9619792B68E}"/>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4" name="Marcador de texto 4">
            <a:extLst>
              <a:ext uri="{FF2B5EF4-FFF2-40B4-BE49-F238E27FC236}">
                <a16:creationId xmlns:a16="http://schemas.microsoft.com/office/drawing/2014/main" id="{85ABDA6C-835E-4042-8B67-F99F2D15D02D}"/>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5" name="Marcador de gráfico 3">
            <a:extLst>
              <a:ext uri="{FF2B5EF4-FFF2-40B4-BE49-F238E27FC236}">
                <a16:creationId xmlns:a16="http://schemas.microsoft.com/office/drawing/2014/main" id="{F74077C6-A545-4B50-B95B-26A6F86B5B68}"/>
              </a:ext>
            </a:extLst>
          </p:cNvPr>
          <p:cNvSpPr>
            <a:spLocks noGrp="1"/>
          </p:cNvSpPr>
          <p:nvPr>
            <p:ph type="chart" sz="quarter" idx="67" hasCustomPrompt="1"/>
          </p:nvPr>
        </p:nvSpPr>
        <p:spPr>
          <a:xfrm>
            <a:off x="4297801"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6" name="Marcador de texto 4">
            <a:extLst>
              <a:ext uri="{FF2B5EF4-FFF2-40B4-BE49-F238E27FC236}">
                <a16:creationId xmlns:a16="http://schemas.microsoft.com/office/drawing/2014/main" id="{9E6E83DC-32BD-49D0-A082-494B760DB463}"/>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7" name="Marcador de texto 4">
            <a:extLst>
              <a:ext uri="{FF2B5EF4-FFF2-40B4-BE49-F238E27FC236}">
                <a16:creationId xmlns:a16="http://schemas.microsoft.com/office/drawing/2014/main" id="{BE0BBE6B-A71A-481A-9330-42A564D0683E}"/>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8" name="Marcador de gráfico 3">
            <a:extLst>
              <a:ext uri="{FF2B5EF4-FFF2-40B4-BE49-F238E27FC236}">
                <a16:creationId xmlns:a16="http://schemas.microsoft.com/office/drawing/2014/main" id="{23FF60E0-6A6C-4713-91EC-79101DBEED65}"/>
              </a:ext>
            </a:extLst>
          </p:cNvPr>
          <p:cNvSpPr>
            <a:spLocks noGrp="1"/>
          </p:cNvSpPr>
          <p:nvPr>
            <p:ph type="chart" sz="quarter" idx="70" hasCustomPrompt="1"/>
          </p:nvPr>
        </p:nvSpPr>
        <p:spPr>
          <a:xfrm>
            <a:off x="8152686"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9" name="Marcador de texto 4">
            <a:extLst>
              <a:ext uri="{FF2B5EF4-FFF2-40B4-BE49-F238E27FC236}">
                <a16:creationId xmlns:a16="http://schemas.microsoft.com/office/drawing/2014/main" id="{D64A3392-1A51-4783-B910-26BDD5D2062C}"/>
              </a:ext>
            </a:extLst>
          </p:cNvPr>
          <p:cNvSpPr>
            <a:spLocks noGrp="1"/>
          </p:cNvSpPr>
          <p:nvPr>
            <p:ph type="body" sz="quarter" idx="77"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6" name="Marcador de texto 4">
            <a:extLst>
              <a:ext uri="{FF2B5EF4-FFF2-40B4-BE49-F238E27FC236}">
                <a16:creationId xmlns:a16="http://schemas.microsoft.com/office/drawing/2014/main" id="{4ACAD040-4D07-4AD7-B2EB-1925E983328F}"/>
              </a:ext>
            </a:extLst>
          </p:cNvPr>
          <p:cNvSpPr>
            <a:spLocks noGrp="1"/>
          </p:cNvSpPr>
          <p:nvPr>
            <p:ph type="body" sz="quarter" idx="78"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2" name="Marcador de gráfico 3">
            <a:extLst>
              <a:ext uri="{FF2B5EF4-FFF2-40B4-BE49-F238E27FC236}">
                <a16:creationId xmlns:a16="http://schemas.microsoft.com/office/drawing/2014/main" id="{4E2E06AC-2387-4CA0-B018-BA38E75AD6AA}"/>
              </a:ext>
            </a:extLst>
          </p:cNvPr>
          <p:cNvSpPr>
            <a:spLocks noGrp="1"/>
          </p:cNvSpPr>
          <p:nvPr>
            <p:ph type="chart" sz="quarter" idx="79" hasCustomPrompt="1"/>
          </p:nvPr>
        </p:nvSpPr>
        <p:spPr>
          <a:xfrm>
            <a:off x="442916"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3" name="Marcador de texto 4">
            <a:extLst>
              <a:ext uri="{FF2B5EF4-FFF2-40B4-BE49-F238E27FC236}">
                <a16:creationId xmlns:a16="http://schemas.microsoft.com/office/drawing/2014/main" id="{23EA909F-BF2E-47EA-8C08-CE7DA89662CB}"/>
              </a:ext>
            </a:extLst>
          </p:cNvPr>
          <p:cNvSpPr>
            <a:spLocks noGrp="1"/>
          </p:cNvSpPr>
          <p:nvPr>
            <p:ph type="body" sz="quarter" idx="80" hasCustomPrompt="1"/>
          </p:nvPr>
        </p:nvSpPr>
        <p:spPr>
          <a:xfrm>
            <a:off x="442916"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44" name="Marcador de texto 4">
            <a:extLst>
              <a:ext uri="{FF2B5EF4-FFF2-40B4-BE49-F238E27FC236}">
                <a16:creationId xmlns:a16="http://schemas.microsoft.com/office/drawing/2014/main" id="{355E7AE0-BD93-46C5-BCC7-14BD463E075A}"/>
              </a:ext>
            </a:extLst>
          </p:cNvPr>
          <p:cNvSpPr>
            <a:spLocks noGrp="1"/>
          </p:cNvSpPr>
          <p:nvPr>
            <p:ph type="body" sz="quarter" idx="81" hasCustomPrompt="1"/>
          </p:nvPr>
        </p:nvSpPr>
        <p:spPr>
          <a:xfrm>
            <a:off x="439262"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5" name="Marcador de gráfico 3">
            <a:extLst>
              <a:ext uri="{FF2B5EF4-FFF2-40B4-BE49-F238E27FC236}">
                <a16:creationId xmlns:a16="http://schemas.microsoft.com/office/drawing/2014/main" id="{08B65512-5B21-4DB0-8896-ACED07D4D643}"/>
              </a:ext>
            </a:extLst>
          </p:cNvPr>
          <p:cNvSpPr>
            <a:spLocks noGrp="1"/>
          </p:cNvSpPr>
          <p:nvPr>
            <p:ph type="chart" sz="quarter" idx="82" hasCustomPrompt="1"/>
          </p:nvPr>
        </p:nvSpPr>
        <p:spPr>
          <a:xfrm>
            <a:off x="4297801"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6" name="Marcador de texto 4">
            <a:extLst>
              <a:ext uri="{FF2B5EF4-FFF2-40B4-BE49-F238E27FC236}">
                <a16:creationId xmlns:a16="http://schemas.microsoft.com/office/drawing/2014/main" id="{0FCA213A-23E7-436A-8D39-3824699B8746}"/>
              </a:ext>
            </a:extLst>
          </p:cNvPr>
          <p:cNvSpPr>
            <a:spLocks noGrp="1"/>
          </p:cNvSpPr>
          <p:nvPr>
            <p:ph type="body" sz="quarter" idx="83" hasCustomPrompt="1"/>
          </p:nvPr>
        </p:nvSpPr>
        <p:spPr>
          <a:xfrm>
            <a:off x="4297801"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47" name="Marcador de texto 4">
            <a:extLst>
              <a:ext uri="{FF2B5EF4-FFF2-40B4-BE49-F238E27FC236}">
                <a16:creationId xmlns:a16="http://schemas.microsoft.com/office/drawing/2014/main" id="{174F2109-187F-4250-8346-C1303B029EB0}"/>
              </a:ext>
            </a:extLst>
          </p:cNvPr>
          <p:cNvSpPr>
            <a:spLocks noGrp="1"/>
          </p:cNvSpPr>
          <p:nvPr>
            <p:ph type="body" sz="quarter" idx="84" hasCustomPrompt="1"/>
          </p:nvPr>
        </p:nvSpPr>
        <p:spPr>
          <a:xfrm>
            <a:off x="4294147"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8" name="Marcador de gráfico 3">
            <a:extLst>
              <a:ext uri="{FF2B5EF4-FFF2-40B4-BE49-F238E27FC236}">
                <a16:creationId xmlns:a16="http://schemas.microsoft.com/office/drawing/2014/main" id="{FF2F0CF8-9ABD-49EA-9DEB-9F32DA2BB682}"/>
              </a:ext>
            </a:extLst>
          </p:cNvPr>
          <p:cNvSpPr>
            <a:spLocks noGrp="1"/>
          </p:cNvSpPr>
          <p:nvPr>
            <p:ph type="chart" sz="quarter" idx="85" hasCustomPrompt="1"/>
          </p:nvPr>
        </p:nvSpPr>
        <p:spPr>
          <a:xfrm>
            <a:off x="8152686"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9" name="Marcador de texto 4">
            <a:extLst>
              <a:ext uri="{FF2B5EF4-FFF2-40B4-BE49-F238E27FC236}">
                <a16:creationId xmlns:a16="http://schemas.microsoft.com/office/drawing/2014/main" id="{1B6AEDDD-1F36-41D0-BA5B-BEFE6F549DF5}"/>
              </a:ext>
            </a:extLst>
          </p:cNvPr>
          <p:cNvSpPr>
            <a:spLocks noGrp="1"/>
          </p:cNvSpPr>
          <p:nvPr>
            <p:ph type="body" sz="quarter" idx="86" hasCustomPrompt="1"/>
          </p:nvPr>
        </p:nvSpPr>
        <p:spPr>
          <a:xfrm>
            <a:off x="8152686"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50" name="Marcador de texto 4">
            <a:extLst>
              <a:ext uri="{FF2B5EF4-FFF2-40B4-BE49-F238E27FC236}">
                <a16:creationId xmlns:a16="http://schemas.microsoft.com/office/drawing/2014/main" id="{D36423C6-ADB0-41A1-8BB4-4CBC237F9235}"/>
              </a:ext>
            </a:extLst>
          </p:cNvPr>
          <p:cNvSpPr>
            <a:spLocks noGrp="1"/>
          </p:cNvSpPr>
          <p:nvPr>
            <p:ph type="body" sz="quarter" idx="87" hasCustomPrompt="1"/>
          </p:nvPr>
        </p:nvSpPr>
        <p:spPr>
          <a:xfrm>
            <a:off x="8149032"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496109905"/>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5375033" y="2362884"/>
            <a:ext cx="6374058" cy="3874400"/>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5" name="Marcador de texto 4">
            <a:extLst>
              <a:ext uri="{FF2B5EF4-FFF2-40B4-BE49-F238E27FC236}">
                <a16:creationId xmlns:a16="http://schemas.microsoft.com/office/drawing/2014/main" id="{48A6AA47-53C4-43F9-A7D8-EC6D26F9F78C}"/>
              </a:ext>
            </a:extLst>
          </p:cNvPr>
          <p:cNvSpPr>
            <a:spLocks noGrp="1"/>
          </p:cNvSpPr>
          <p:nvPr>
            <p:ph type="body" sz="quarter" idx="69" hasCustomPrompt="1"/>
          </p:nvPr>
        </p:nvSpPr>
        <p:spPr>
          <a:xfrm>
            <a:off x="5375033" y="1709206"/>
            <a:ext cx="6378250"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6" name="Marcador de texto 4">
            <a:extLst>
              <a:ext uri="{FF2B5EF4-FFF2-40B4-BE49-F238E27FC236}">
                <a16:creationId xmlns:a16="http://schemas.microsoft.com/office/drawing/2014/main" id="{43AFF363-4C6C-4655-B054-694A479F33BA}"/>
              </a:ext>
            </a:extLst>
          </p:cNvPr>
          <p:cNvSpPr>
            <a:spLocks noGrp="1"/>
          </p:cNvSpPr>
          <p:nvPr>
            <p:ph type="body" sz="quarter" idx="70" hasCustomPrompt="1"/>
          </p:nvPr>
        </p:nvSpPr>
        <p:spPr>
          <a:xfrm>
            <a:off x="5375277" y="2088365"/>
            <a:ext cx="6378251" cy="2357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Fuente Gráfico</a:t>
            </a:r>
          </a:p>
        </p:txBody>
      </p:sp>
      <p:sp>
        <p:nvSpPr>
          <p:cNvPr id="27" name="Marcador de texto 4">
            <a:extLst>
              <a:ext uri="{FF2B5EF4-FFF2-40B4-BE49-F238E27FC236}">
                <a16:creationId xmlns:a16="http://schemas.microsoft.com/office/drawing/2014/main" id="{52623ED4-9832-4D3C-86AB-17810BA9597C}"/>
              </a:ext>
            </a:extLst>
          </p:cNvPr>
          <p:cNvSpPr>
            <a:spLocks noGrp="1"/>
          </p:cNvSpPr>
          <p:nvPr>
            <p:ph type="body" sz="quarter" idx="24" hasCustomPrompt="1"/>
          </p:nvPr>
        </p:nvSpPr>
        <p:spPr>
          <a:xfrm>
            <a:off x="451961" y="2088364"/>
            <a:ext cx="4348641" cy="4148927"/>
          </a:xfrm>
          <a:prstGeom prst="rect">
            <a:avLst/>
          </a:prstGeom>
        </p:spPr>
        <p:txBody>
          <a:bodyPr lIns="3600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9" name="Título 1">
            <a:extLst>
              <a:ext uri="{FF2B5EF4-FFF2-40B4-BE49-F238E27FC236}">
                <a16:creationId xmlns:a16="http://schemas.microsoft.com/office/drawing/2014/main" id="{E547FB6A-B2A8-4E74-A1D0-4AA782A7822D}"/>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0" name="Conector recto 9">
            <a:extLst>
              <a:ext uri="{FF2B5EF4-FFF2-40B4-BE49-F238E27FC236}">
                <a16:creationId xmlns:a16="http://schemas.microsoft.com/office/drawing/2014/main" id="{1AD67BA4-DD3E-4381-8163-BE129D67768D}"/>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Marcador de texto 4">
            <a:extLst>
              <a:ext uri="{FF2B5EF4-FFF2-40B4-BE49-F238E27FC236}">
                <a16:creationId xmlns:a16="http://schemas.microsoft.com/office/drawing/2014/main" id="{6008DE5B-261B-4F01-907C-992D726D5A6C}"/>
              </a:ext>
            </a:extLst>
          </p:cNvPr>
          <p:cNvSpPr>
            <a:spLocks noGrp="1"/>
          </p:cNvSpPr>
          <p:nvPr>
            <p:ph type="body" sz="quarter" idx="71" hasCustomPrompt="1"/>
          </p:nvPr>
        </p:nvSpPr>
        <p:spPr>
          <a:xfrm>
            <a:off x="448102" y="1709206"/>
            <a:ext cx="4352256"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224189032"/>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5" name="Marcador de texto 4">
            <a:extLst>
              <a:ext uri="{FF2B5EF4-FFF2-40B4-BE49-F238E27FC236}">
                <a16:creationId xmlns:a16="http://schemas.microsoft.com/office/drawing/2014/main" id="{48A6AA47-53C4-43F9-A7D8-EC6D26F9F78C}"/>
              </a:ext>
            </a:extLst>
          </p:cNvPr>
          <p:cNvSpPr>
            <a:spLocks noGrp="1"/>
          </p:cNvSpPr>
          <p:nvPr>
            <p:ph type="body" sz="quarter" idx="69" hasCustomPrompt="1"/>
          </p:nvPr>
        </p:nvSpPr>
        <p:spPr>
          <a:xfrm>
            <a:off x="5375275" y="1718244"/>
            <a:ext cx="6378250"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43AFF363-4C6C-4655-B054-694A479F33BA}"/>
              </a:ext>
            </a:extLst>
          </p:cNvPr>
          <p:cNvSpPr>
            <a:spLocks noGrp="1"/>
          </p:cNvSpPr>
          <p:nvPr>
            <p:ph type="body" sz="quarter" idx="70" hasCustomPrompt="1"/>
          </p:nvPr>
        </p:nvSpPr>
        <p:spPr>
          <a:xfrm>
            <a:off x="5375277" y="2088365"/>
            <a:ext cx="6378251" cy="2357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9" name="Marcador de texto 4">
            <a:extLst>
              <a:ext uri="{FF2B5EF4-FFF2-40B4-BE49-F238E27FC236}">
                <a16:creationId xmlns:a16="http://schemas.microsoft.com/office/drawing/2014/main" id="{5A0F4276-617C-4D27-90E7-83B5FBE89DD9}"/>
              </a:ext>
            </a:extLst>
          </p:cNvPr>
          <p:cNvSpPr>
            <a:spLocks noGrp="1"/>
          </p:cNvSpPr>
          <p:nvPr>
            <p:ph type="body" sz="quarter" idx="42" hasCustomPrompt="1"/>
          </p:nvPr>
        </p:nvSpPr>
        <p:spPr>
          <a:xfrm>
            <a:off x="462773" y="5170282"/>
            <a:ext cx="1792292" cy="665815"/>
          </a:xfrm>
          <a:prstGeom prst="rect">
            <a:avLst/>
          </a:prstGeom>
        </p:spPr>
        <p:txBody>
          <a:bodyPr lIns="0" tIns="0" rIns="0" bIns="0">
            <a:noAutofit/>
          </a:bodyPr>
          <a:lstStyle>
            <a:lvl1pPr marL="0" indent="0">
              <a:buNone/>
              <a:defRPr sz="455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0" name="Marcador de texto 4">
            <a:extLst>
              <a:ext uri="{FF2B5EF4-FFF2-40B4-BE49-F238E27FC236}">
                <a16:creationId xmlns:a16="http://schemas.microsoft.com/office/drawing/2014/main" id="{8D2C2761-CDB4-4DA9-B876-933C96254C84}"/>
              </a:ext>
            </a:extLst>
          </p:cNvPr>
          <p:cNvSpPr>
            <a:spLocks noGrp="1"/>
          </p:cNvSpPr>
          <p:nvPr>
            <p:ph type="body" sz="quarter" idx="43" hasCustomPrompt="1"/>
          </p:nvPr>
        </p:nvSpPr>
        <p:spPr>
          <a:xfrm>
            <a:off x="462771" y="5869963"/>
            <a:ext cx="1792294" cy="356715"/>
          </a:xfrm>
          <a:prstGeom prst="rect">
            <a:avLst/>
          </a:prstGeom>
        </p:spPr>
        <p:txBody>
          <a:bodyPr lIns="0" tIns="0" rIns="0" bIns="0">
            <a:noAutofit/>
          </a:bodyPr>
          <a:lstStyle>
            <a:lvl1pPr marL="0" indent="0">
              <a:buNone/>
              <a:defRPr sz="1138" baseline="0">
                <a:solidFill>
                  <a:schemeClr val="tx1"/>
                </a:solidFill>
                <a:latin typeface="Santander Text"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1" name="Marcador de texto 4">
            <a:extLst>
              <a:ext uri="{FF2B5EF4-FFF2-40B4-BE49-F238E27FC236}">
                <a16:creationId xmlns:a16="http://schemas.microsoft.com/office/drawing/2014/main" id="{AA63B073-320A-4355-B699-48658667B196}"/>
              </a:ext>
            </a:extLst>
          </p:cNvPr>
          <p:cNvSpPr>
            <a:spLocks noGrp="1"/>
          </p:cNvSpPr>
          <p:nvPr>
            <p:ph type="body" sz="quarter" idx="44" hasCustomPrompt="1"/>
          </p:nvPr>
        </p:nvSpPr>
        <p:spPr>
          <a:xfrm>
            <a:off x="462773" y="4929224"/>
            <a:ext cx="1792295" cy="241057"/>
          </a:xfrm>
          <a:prstGeom prst="rect">
            <a:avLst/>
          </a:prstGeom>
        </p:spPr>
        <p:txBody>
          <a:bodyPr lIns="0" tIns="0" rIns="0" bIns="0">
            <a:noAutofit/>
          </a:bodyPr>
          <a:lstStyle>
            <a:lvl1pPr marL="0" indent="0">
              <a:buNone/>
              <a:defRPr sz="1463" b="0" baseline="0">
                <a:solidFill>
                  <a:schemeClr val="tx1"/>
                </a:solidFill>
                <a:latin typeface="Santander Text"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2" name="Marcador de tabla 3">
            <a:extLst>
              <a:ext uri="{FF2B5EF4-FFF2-40B4-BE49-F238E27FC236}">
                <a16:creationId xmlns:a16="http://schemas.microsoft.com/office/drawing/2014/main" id="{AE2A4C76-F8EE-4514-92C7-7039A75D000C}"/>
              </a:ext>
            </a:extLst>
          </p:cNvPr>
          <p:cNvSpPr>
            <a:spLocks noGrp="1"/>
          </p:cNvSpPr>
          <p:nvPr>
            <p:ph type="tbl" sz="quarter" idx="10" hasCustomPrompt="1"/>
          </p:nvPr>
        </p:nvSpPr>
        <p:spPr>
          <a:xfrm>
            <a:off x="5375275" y="2451104"/>
            <a:ext cx="6337300" cy="3748087"/>
          </a:xfrm>
          <a:prstGeom prst="rect">
            <a:avLst/>
          </a:prstGeom>
        </p:spPr>
        <p:txBody>
          <a:bodyPr/>
          <a:lstStyle>
            <a:lvl1pPr marL="0" indent="0">
              <a:buNone/>
              <a:defRPr sz="900">
                <a:solidFill>
                  <a:schemeClr val="tx1"/>
                </a:solidFill>
                <a:latin typeface="Santander Text" panose="020B0504020201020104" pitchFamily="34" charset="0"/>
                <a:cs typeface="Arial" panose="020B0604020202020204" pitchFamily="34" charset="0"/>
              </a:defRPr>
            </a:lvl1pPr>
          </a:lstStyle>
          <a:p>
            <a:r>
              <a:rPr lang="es-ES" dirty="0"/>
              <a:t>Table</a:t>
            </a:r>
          </a:p>
        </p:txBody>
      </p:sp>
      <p:sp>
        <p:nvSpPr>
          <p:cNvPr id="13" name="Título 1">
            <a:extLst>
              <a:ext uri="{FF2B5EF4-FFF2-40B4-BE49-F238E27FC236}">
                <a16:creationId xmlns:a16="http://schemas.microsoft.com/office/drawing/2014/main" id="{7CCD8D0B-6C7D-4974-8558-CE14C479FC17}"/>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4" name="Conector recto 13">
            <a:extLst>
              <a:ext uri="{FF2B5EF4-FFF2-40B4-BE49-F238E27FC236}">
                <a16:creationId xmlns:a16="http://schemas.microsoft.com/office/drawing/2014/main" id="{267847D2-84E8-49DF-A466-4EFCFD1F9529}"/>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arcador de texto 4">
            <a:extLst>
              <a:ext uri="{FF2B5EF4-FFF2-40B4-BE49-F238E27FC236}">
                <a16:creationId xmlns:a16="http://schemas.microsoft.com/office/drawing/2014/main" id="{F8073D5C-2859-4AA4-9C1C-2936C57AA05D}"/>
              </a:ext>
            </a:extLst>
          </p:cNvPr>
          <p:cNvSpPr>
            <a:spLocks noGrp="1"/>
          </p:cNvSpPr>
          <p:nvPr>
            <p:ph type="body" sz="quarter" idx="24" hasCustomPrompt="1"/>
          </p:nvPr>
        </p:nvSpPr>
        <p:spPr>
          <a:xfrm>
            <a:off x="451961" y="2088362"/>
            <a:ext cx="4348641" cy="1839950"/>
          </a:xfrm>
          <a:prstGeom prst="rect">
            <a:avLst/>
          </a:prstGeom>
        </p:spPr>
        <p:txBody>
          <a:bodyPr lIns="3600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6" name="Marcador de texto 4">
            <a:extLst>
              <a:ext uri="{FF2B5EF4-FFF2-40B4-BE49-F238E27FC236}">
                <a16:creationId xmlns:a16="http://schemas.microsoft.com/office/drawing/2014/main" id="{2EA63AC8-8AAF-42E8-9A2C-D7243285A806}"/>
              </a:ext>
            </a:extLst>
          </p:cNvPr>
          <p:cNvSpPr>
            <a:spLocks noGrp="1"/>
          </p:cNvSpPr>
          <p:nvPr>
            <p:ph type="body" sz="quarter" idx="71" hasCustomPrompt="1"/>
          </p:nvPr>
        </p:nvSpPr>
        <p:spPr>
          <a:xfrm>
            <a:off x="448345" y="1718244"/>
            <a:ext cx="4352256"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4082844666"/>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A91E7ABF-0433-4394-8396-5538B9613C12}"/>
              </a:ext>
            </a:extLst>
          </p:cNvPr>
          <p:cNvSpPr>
            <a:spLocks noGrp="1"/>
          </p:cNvSpPr>
          <p:nvPr>
            <p:ph type="body" sz="quarter" idx="10" hasCustomPrompt="1"/>
          </p:nvPr>
        </p:nvSpPr>
        <p:spPr>
          <a:xfrm>
            <a:off x="5375275" y="949592"/>
            <a:ext cx="6361561" cy="1781855"/>
          </a:xfrm>
          <a:prstGeom prst="rect">
            <a:avLst/>
          </a:prstGeom>
        </p:spPr>
        <p:txBody>
          <a:bodyPr lIns="0"/>
          <a:lstStyle>
            <a:lvl1pPr marL="0" indent="0">
              <a:lnSpc>
                <a:spcPct val="12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p:txBody>
      </p:sp>
      <p:sp>
        <p:nvSpPr>
          <p:cNvPr id="8" name="Marcador de texto 7">
            <a:extLst>
              <a:ext uri="{FF2B5EF4-FFF2-40B4-BE49-F238E27FC236}">
                <a16:creationId xmlns:a16="http://schemas.microsoft.com/office/drawing/2014/main" id="{4685FE03-4869-4534-B839-559C997EE376}"/>
              </a:ext>
            </a:extLst>
          </p:cNvPr>
          <p:cNvSpPr>
            <a:spLocks noGrp="1"/>
          </p:cNvSpPr>
          <p:nvPr>
            <p:ph type="body" sz="quarter" idx="11" hasCustomPrompt="1"/>
          </p:nvPr>
        </p:nvSpPr>
        <p:spPr>
          <a:xfrm>
            <a:off x="5375275" y="3043360"/>
            <a:ext cx="6361561" cy="1451781"/>
          </a:xfrm>
          <a:prstGeom prst="rect">
            <a:avLst/>
          </a:prstGeom>
        </p:spPr>
        <p:txBody>
          <a:bodyPr lIns="0"/>
          <a:lstStyle>
            <a:lvl1pPr>
              <a:lnSpc>
                <a:spcPct val="120000"/>
              </a:lnSpc>
              <a:buClr>
                <a:schemeClr val="accent1"/>
              </a:buClr>
              <a:defRPr sz="1200">
                <a:solidFill>
                  <a:schemeClr val="tx1"/>
                </a:solidFill>
                <a:latin typeface="Santander Text Light" panose="020B0304020201020104" pitchFamily="34" charset="0"/>
                <a:cs typeface="Arial" panose="020B0604020202020204" pitchFamily="34" charset="0"/>
              </a:defRPr>
            </a:lvl1pPr>
            <a:lvl2pPr marL="557213" indent="-185738">
              <a:lnSpc>
                <a:spcPct val="120000"/>
              </a:lnSpc>
              <a:buClr>
                <a:schemeClr val="accent1"/>
              </a:buClr>
              <a:buFont typeface="Calibri" panose="020F0502020204030204" pitchFamily="34" charset="0"/>
              <a:buChar char="–"/>
              <a:defRPr sz="1200">
                <a:solidFill>
                  <a:schemeClr val="tx1"/>
                </a:solidFill>
                <a:latin typeface="Santander Text Light" panose="020B0304020201020104" pitchFamily="34" charset="0"/>
              </a:defRPr>
            </a:lvl2pPr>
            <a:lvl3pPr>
              <a:defRPr sz="1138"/>
            </a:lvl3pPr>
            <a:lvl4pPr>
              <a:defRPr sz="1138"/>
            </a:lvl4pPr>
            <a:lvl5pPr>
              <a:defRPr sz="1138"/>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Marcador de texto 5">
            <a:extLst>
              <a:ext uri="{FF2B5EF4-FFF2-40B4-BE49-F238E27FC236}">
                <a16:creationId xmlns:a16="http://schemas.microsoft.com/office/drawing/2014/main" id="{5A39879E-2A01-473D-8528-AB922992A224}"/>
              </a:ext>
            </a:extLst>
          </p:cNvPr>
          <p:cNvSpPr>
            <a:spLocks noGrp="1"/>
          </p:cNvSpPr>
          <p:nvPr>
            <p:ph type="body" sz="quarter" idx="12" hasCustomPrompt="1"/>
          </p:nvPr>
        </p:nvSpPr>
        <p:spPr>
          <a:xfrm>
            <a:off x="5375275" y="4812270"/>
            <a:ext cx="6361561" cy="875519"/>
          </a:xfrm>
          <a:prstGeom prst="rect">
            <a:avLst/>
          </a:prstGeom>
        </p:spPr>
        <p:txBody>
          <a:bodyPr lIns="0"/>
          <a:lstStyle>
            <a:lvl1pPr marL="0" indent="0">
              <a:lnSpc>
                <a:spcPct val="12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p:txBody>
      </p:sp>
      <p:cxnSp>
        <p:nvCxnSpPr>
          <p:cNvPr id="13" name="Conector recto 12">
            <a:extLst>
              <a:ext uri="{FF2B5EF4-FFF2-40B4-BE49-F238E27FC236}">
                <a16:creationId xmlns:a16="http://schemas.microsoft.com/office/drawing/2014/main" id="{00BCC886-BD26-A54F-9C84-A80159F52E06}"/>
              </a:ext>
            </a:extLst>
          </p:cNvPr>
          <p:cNvCxnSpPr>
            <a:cxnSpLocks/>
          </p:cNvCxnSpPr>
          <p:nvPr userDrawn="1"/>
        </p:nvCxnSpPr>
        <p:spPr>
          <a:xfrm>
            <a:off x="5375020" y="794121"/>
            <a:ext cx="637407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ítulo 1">
            <a:extLst>
              <a:ext uri="{FF2B5EF4-FFF2-40B4-BE49-F238E27FC236}">
                <a16:creationId xmlns:a16="http://schemas.microsoft.com/office/drawing/2014/main" id="{CA13477E-CF4E-4ED8-B98D-E4C6479A2E44}"/>
              </a:ext>
            </a:extLst>
          </p:cNvPr>
          <p:cNvSpPr>
            <a:spLocks noGrp="1"/>
          </p:cNvSpPr>
          <p:nvPr>
            <p:ph type="ctrTitle" hasCustomPrompt="1"/>
          </p:nvPr>
        </p:nvSpPr>
        <p:spPr>
          <a:xfrm>
            <a:off x="439259" y="939173"/>
            <a:ext cx="4361342"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0" name="Conector recto 9">
            <a:extLst>
              <a:ext uri="{FF2B5EF4-FFF2-40B4-BE49-F238E27FC236}">
                <a16:creationId xmlns:a16="http://schemas.microsoft.com/office/drawing/2014/main" id="{6B740C66-918D-4B8C-84FA-03A02C75119F}"/>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22754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1" name="Marcador de texto 5">
            <a:extLst>
              <a:ext uri="{FF2B5EF4-FFF2-40B4-BE49-F238E27FC236}">
                <a16:creationId xmlns:a16="http://schemas.microsoft.com/office/drawing/2014/main" id="{E186EE22-9E95-4126-AB3D-0F81CC56F370}"/>
              </a:ext>
            </a:extLst>
          </p:cNvPr>
          <p:cNvSpPr>
            <a:spLocks noGrp="1"/>
          </p:cNvSpPr>
          <p:nvPr>
            <p:ph type="body" sz="quarter" idx="25" hasCustomPrompt="1"/>
          </p:nvPr>
        </p:nvSpPr>
        <p:spPr>
          <a:xfrm>
            <a:off x="515938" y="2708346"/>
            <a:ext cx="1960562" cy="247650"/>
          </a:xfrm>
          <a:prstGeom prst="rect">
            <a:avLst/>
          </a:prstGeom>
        </p:spPr>
        <p:txBody>
          <a:bodyPr lIns="0" tIns="0" rIns="0" bIns="0"/>
          <a:lstStyle>
            <a:lvl1pPr marL="0" indent="0">
              <a:lnSpc>
                <a:spcPct val="100000"/>
              </a:lnSpc>
              <a:spcBef>
                <a:spcPts val="0"/>
              </a:spcBef>
              <a:spcAft>
                <a:spcPts val="975"/>
              </a:spcAft>
              <a:buNone/>
              <a:defRPr sz="800" b="0" i="0">
                <a:solidFill>
                  <a:schemeClr val="tx1"/>
                </a:solidFill>
                <a:latin typeface="Santander Text"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
        <p:nvSpPr>
          <p:cNvPr id="19" name="Marcador de texto 5">
            <a:extLst>
              <a:ext uri="{FF2B5EF4-FFF2-40B4-BE49-F238E27FC236}">
                <a16:creationId xmlns:a16="http://schemas.microsoft.com/office/drawing/2014/main" id="{F5B3AABB-B53D-46B5-8727-95C585D257E1}"/>
              </a:ext>
            </a:extLst>
          </p:cNvPr>
          <p:cNvSpPr>
            <a:spLocks noGrp="1"/>
          </p:cNvSpPr>
          <p:nvPr>
            <p:ph type="body" sz="quarter" idx="26" hasCustomPrompt="1"/>
          </p:nvPr>
        </p:nvSpPr>
        <p:spPr>
          <a:xfrm>
            <a:off x="515938" y="2956000"/>
            <a:ext cx="11352212" cy="3435279"/>
          </a:xfrm>
          <a:prstGeom prst="rect">
            <a:avLst/>
          </a:prstGeom>
        </p:spPr>
        <p:txBody>
          <a:bodyPr lIns="0" tIns="0" rIns="0" bIns="0"/>
          <a:lstStyle>
            <a:lvl1pPr marL="0" indent="0">
              <a:lnSpc>
                <a:spcPct val="100000"/>
              </a:lnSpc>
              <a:spcBef>
                <a:spcPts val="0"/>
              </a:spcBef>
              <a:spcAft>
                <a:spcPts val="325"/>
              </a:spcAft>
              <a:buNone/>
              <a:defRPr sz="800" b="0" i="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Tree>
    <p:extLst>
      <p:ext uri="{BB962C8B-B14F-4D97-AF65-F5344CB8AC3E}">
        <p14:creationId xmlns:p14="http://schemas.microsoft.com/office/powerpoint/2010/main" val="402234236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age with image_01 lines">
    <p:spTree>
      <p:nvGrpSpPr>
        <p:cNvPr id="1" name=""/>
        <p:cNvGrpSpPr/>
        <p:nvPr/>
      </p:nvGrpSpPr>
      <p:grpSpPr>
        <a:xfrm>
          <a:off x="0" y="0"/>
          <a:ext cx="0" cy="0"/>
          <a:chOff x="0" y="0"/>
          <a:chExt cx="0" cy="0"/>
        </a:xfrm>
      </p:grpSpPr>
      <p:pic>
        <p:nvPicPr>
          <p:cNvPr id="14" name="Imagen 13" descr="Persona en bicicleta en la calle&#10;&#10;Descripción generada automáticamente">
            <a:extLst>
              <a:ext uri="{FF2B5EF4-FFF2-40B4-BE49-F238E27FC236}">
                <a16:creationId xmlns:a16="http://schemas.microsoft.com/office/drawing/2014/main" id="{8F20059E-5452-476D-8A27-AB372DD43F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 t="39722" r="-2" b="12407"/>
          <a:stretch/>
        </p:blipFill>
        <p:spPr>
          <a:xfrm>
            <a:off x="-1" y="653147"/>
            <a:ext cx="12191999" cy="5507942"/>
          </a:xfrm>
          <a:prstGeom prst="rect">
            <a:avLst/>
          </a:prstGeom>
        </p:spPr>
      </p:pic>
      <p:sp>
        <p:nvSpPr>
          <p:cNvPr id="7" name="Rectángulo 6">
            <a:extLst>
              <a:ext uri="{FF2B5EF4-FFF2-40B4-BE49-F238E27FC236}">
                <a16:creationId xmlns:a16="http://schemas.microsoft.com/office/drawing/2014/main" id="{6B70D86C-2097-4806-9EA1-7E61F072D692}"/>
              </a:ext>
            </a:extLst>
          </p:cNvPr>
          <p:cNvSpPr/>
          <p:nvPr userDrawn="1"/>
        </p:nvSpPr>
        <p:spPr>
          <a:xfrm>
            <a:off x="0" y="653143"/>
            <a:ext cx="12009120" cy="5507944"/>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15" name="Conector recto 14">
            <a:extLst>
              <a:ext uri="{FF2B5EF4-FFF2-40B4-BE49-F238E27FC236}">
                <a16:creationId xmlns:a16="http://schemas.microsoft.com/office/drawing/2014/main" id="{C15B0DE2-9C1F-4FE2-BC9A-BBD11BF04F13}"/>
              </a:ext>
            </a:extLst>
          </p:cNvPr>
          <p:cNvCxnSpPr>
            <a:cxnSpLocks/>
          </p:cNvCxnSpPr>
          <p:nvPr userDrawn="1"/>
        </p:nvCxnSpPr>
        <p:spPr>
          <a:xfrm>
            <a:off x="2115054" y="25403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F69D26ED-3F85-462E-9EFE-DC512FF2144D}"/>
              </a:ext>
            </a:extLst>
          </p:cNvPr>
          <p:cNvCxnSpPr>
            <a:cxnSpLocks/>
          </p:cNvCxnSpPr>
          <p:nvPr userDrawn="1"/>
        </p:nvCxnSpPr>
        <p:spPr>
          <a:xfrm>
            <a:off x="6147198" y="20891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ítulo 1">
            <a:extLst>
              <a:ext uri="{FF2B5EF4-FFF2-40B4-BE49-F238E27FC236}">
                <a16:creationId xmlns:a16="http://schemas.microsoft.com/office/drawing/2014/main" id="{98C0A169-A00F-4D40-8022-D66C231EE05E}"/>
              </a:ext>
            </a:extLst>
          </p:cNvPr>
          <p:cNvSpPr>
            <a:spLocks noGrp="1"/>
          </p:cNvSpPr>
          <p:nvPr>
            <p:ph type="ctrTitle" hasCustomPrompt="1"/>
          </p:nvPr>
        </p:nvSpPr>
        <p:spPr>
          <a:xfrm>
            <a:off x="2115054" y="19361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8" name="Marcador de texto 4">
            <a:extLst>
              <a:ext uri="{FF2B5EF4-FFF2-40B4-BE49-F238E27FC236}">
                <a16:creationId xmlns:a16="http://schemas.microsoft.com/office/drawing/2014/main" id="{1EBB1587-AF66-486A-B319-BB8EE2424E21}"/>
              </a:ext>
            </a:extLst>
          </p:cNvPr>
          <p:cNvSpPr>
            <a:spLocks noGrp="1"/>
          </p:cNvSpPr>
          <p:nvPr>
            <p:ph type="body" sz="quarter" idx="47" hasCustomPrompt="1"/>
          </p:nvPr>
        </p:nvSpPr>
        <p:spPr>
          <a:xfrm>
            <a:off x="6295899" y="13682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1867487753"/>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12701" y="0"/>
            <a:ext cx="4655358"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s-ES" dirty="0"/>
              <a:t>Haga </a:t>
            </a: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6" y="873128"/>
            <a:ext cx="2107342" cy="1130731"/>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pic>
        <p:nvPicPr>
          <p:cNvPr id="12" name="Gráfico 11">
            <a:extLst>
              <a:ext uri="{FF2B5EF4-FFF2-40B4-BE49-F238E27FC236}">
                <a16:creationId xmlns:a16="http://schemas.microsoft.com/office/drawing/2014/main" id="{F3B9D313-2516-4CAE-86F3-95C2C3374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9981" y="273933"/>
            <a:ext cx="1031951" cy="190176"/>
          </a:xfrm>
          <a:prstGeom prst="rect">
            <a:avLst/>
          </a:prstGeom>
        </p:spPr>
      </p:pic>
    </p:spTree>
    <p:extLst>
      <p:ext uri="{BB962C8B-B14F-4D97-AF65-F5344CB8AC3E}">
        <p14:creationId xmlns:p14="http://schemas.microsoft.com/office/powerpoint/2010/main" val="3836123771"/>
      </p:ext>
    </p:extLst>
  </p:cSld>
  <p:clrMapOvr>
    <a:masterClrMapping/>
  </p:clrMapOvr>
  <p:extLst>
    <p:ext uri="{DCECCB84-F9BA-43D5-87BE-67443E8EF086}">
      <p15:sldGuideLst xmlns:p15="http://schemas.microsoft.com/office/powerpoint/2012/main">
        <p15:guide id="1" pos="2919"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ighlights 2">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4800602" y="0"/>
            <a:ext cx="7391399"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s-ES" dirty="0"/>
              <a:t>Haga </a:t>
            </a: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5" y="873128"/>
            <a:ext cx="2040435" cy="1130731"/>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31101234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ortada">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CD7C8FD9-0F64-E105-AD01-1E72322786E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tretch>
            <a:fillRect/>
          </a:stretch>
        </p:blipFill>
        <p:spPr>
          <a:xfrm>
            <a:off x="0" y="234"/>
            <a:ext cx="12192000" cy="6857531"/>
          </a:xfrm>
          <a:prstGeom prst="rect">
            <a:avLst/>
          </a:prstGeom>
        </p:spPr>
      </p:pic>
      <p:sp>
        <p:nvSpPr>
          <p:cNvPr id="5" name="Rectángulo 4">
            <a:extLst>
              <a:ext uri="{FF2B5EF4-FFF2-40B4-BE49-F238E27FC236}">
                <a16:creationId xmlns:a16="http://schemas.microsoft.com/office/drawing/2014/main" id="{286D69F9-71BD-9003-8D06-90DB4A19F269}"/>
              </a:ext>
            </a:extLst>
          </p:cNvPr>
          <p:cNvSpPr/>
          <p:nvPr userDrawn="1"/>
        </p:nvSpPr>
        <p:spPr>
          <a:xfrm>
            <a:off x="0" y="0"/>
            <a:ext cx="12192000" cy="6858000"/>
          </a:xfrm>
          <a:prstGeom prst="rect">
            <a:avLst/>
          </a:prstGeom>
          <a:solidFill>
            <a:schemeClr val="accent1">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Gráfico 20">
            <a:extLst>
              <a:ext uri="{FF2B5EF4-FFF2-40B4-BE49-F238E27FC236}">
                <a16:creationId xmlns:a16="http://schemas.microsoft.com/office/drawing/2014/main" id="{F3A5A4CB-DF0B-8DF6-EDF3-C701B5F0E494}"/>
              </a:ext>
            </a:extLst>
          </p:cNvPr>
          <p:cNvSpPr/>
          <p:nvPr userDrawn="1"/>
        </p:nvSpPr>
        <p:spPr>
          <a:xfrm>
            <a:off x="9424988" y="573088"/>
            <a:ext cx="2189162" cy="592518"/>
          </a:xfrm>
          <a:custGeom>
            <a:avLst/>
            <a:gdLst>
              <a:gd name="connsiteX0" fmla="*/ 391413 w 1715044"/>
              <a:gd name="connsiteY0" fmla="*/ 400655 h 464193"/>
              <a:gd name="connsiteX1" fmla="*/ 339050 w 1715044"/>
              <a:gd name="connsiteY1" fmla="*/ 400655 h 464193"/>
              <a:gd name="connsiteX2" fmla="*/ 329223 w 1715044"/>
              <a:gd name="connsiteY2" fmla="*/ 429284 h 464193"/>
              <a:gd name="connsiteX3" fmla="*/ 316682 w 1715044"/>
              <a:gd name="connsiteY3" fmla="*/ 429284 h 464193"/>
              <a:gd name="connsiteX4" fmla="*/ 357515 w 1715044"/>
              <a:gd name="connsiteY4" fmla="*/ 312708 h 464193"/>
              <a:gd name="connsiteX5" fmla="*/ 372433 w 1715044"/>
              <a:gd name="connsiteY5" fmla="*/ 311183 h 464193"/>
              <a:gd name="connsiteX6" fmla="*/ 413781 w 1715044"/>
              <a:gd name="connsiteY6" fmla="*/ 429284 h 464193"/>
              <a:gd name="connsiteX7" fmla="*/ 401240 w 1715044"/>
              <a:gd name="connsiteY7" fmla="*/ 429284 h 464193"/>
              <a:gd name="connsiteX8" fmla="*/ 391413 w 1715044"/>
              <a:gd name="connsiteY8" fmla="*/ 400655 h 464193"/>
              <a:gd name="connsiteX9" fmla="*/ 387688 w 1715044"/>
              <a:gd name="connsiteY9" fmla="*/ 389462 h 464193"/>
              <a:gd name="connsiteX10" fmla="*/ 365320 w 1715044"/>
              <a:gd name="connsiteY10" fmla="*/ 323546 h 464193"/>
              <a:gd name="connsiteX11" fmla="*/ 342793 w 1715044"/>
              <a:gd name="connsiteY11" fmla="*/ 389462 h 464193"/>
              <a:gd name="connsiteX12" fmla="*/ 387688 w 1715044"/>
              <a:gd name="connsiteY12" fmla="*/ 389462 h 464193"/>
              <a:gd name="connsiteX13" fmla="*/ 421231 w 1715044"/>
              <a:gd name="connsiteY13" fmla="*/ 424708 h 464193"/>
              <a:gd name="connsiteX14" fmla="*/ 422934 w 1715044"/>
              <a:gd name="connsiteY14" fmla="*/ 414366 h 464193"/>
              <a:gd name="connsiteX15" fmla="*/ 450553 w 1715044"/>
              <a:gd name="connsiteY15" fmla="*/ 420983 h 464193"/>
              <a:gd name="connsiteX16" fmla="*/ 471555 w 1715044"/>
              <a:gd name="connsiteY16" fmla="*/ 407253 h 464193"/>
              <a:gd name="connsiteX17" fmla="*/ 454100 w 1715044"/>
              <a:gd name="connsiteY17" fmla="*/ 390987 h 464193"/>
              <a:gd name="connsiteX18" fmla="*/ 446313 w 1715044"/>
              <a:gd name="connsiteY18" fmla="*/ 388610 h 464193"/>
              <a:gd name="connsiteX19" fmla="*/ 422934 w 1715044"/>
              <a:gd name="connsiteY19" fmla="*/ 362854 h 464193"/>
              <a:gd name="connsiteX20" fmla="*/ 453604 w 1715044"/>
              <a:gd name="connsiteY20" fmla="*/ 339812 h 464193"/>
              <a:gd name="connsiteX21" fmla="*/ 480371 w 1715044"/>
              <a:gd name="connsiteY21" fmla="*/ 344211 h 464193"/>
              <a:gd name="connsiteX22" fmla="*/ 478668 w 1715044"/>
              <a:gd name="connsiteY22" fmla="*/ 354216 h 464193"/>
              <a:gd name="connsiteX23" fmla="*/ 453923 w 1715044"/>
              <a:gd name="connsiteY23" fmla="*/ 349976 h 464193"/>
              <a:gd name="connsiteX24" fmla="*/ 434269 w 1715044"/>
              <a:gd name="connsiteY24" fmla="*/ 362517 h 464193"/>
              <a:gd name="connsiteX25" fmla="*/ 451386 w 1715044"/>
              <a:gd name="connsiteY25" fmla="*/ 378446 h 464193"/>
              <a:gd name="connsiteX26" fmla="*/ 459351 w 1715044"/>
              <a:gd name="connsiteY26" fmla="*/ 381160 h 464193"/>
              <a:gd name="connsiteX27" fmla="*/ 483067 w 1715044"/>
              <a:gd name="connsiteY27" fmla="*/ 406916 h 464193"/>
              <a:gd name="connsiteX28" fmla="*/ 450872 w 1715044"/>
              <a:gd name="connsiteY28" fmla="*/ 431306 h 464193"/>
              <a:gd name="connsiteX29" fmla="*/ 421231 w 1715044"/>
              <a:gd name="connsiteY29" fmla="*/ 424708 h 464193"/>
              <a:gd name="connsiteX30" fmla="*/ 495271 w 1715044"/>
              <a:gd name="connsiteY30" fmla="*/ 424708 h 464193"/>
              <a:gd name="connsiteX31" fmla="*/ 496974 w 1715044"/>
              <a:gd name="connsiteY31" fmla="*/ 414366 h 464193"/>
              <a:gd name="connsiteX32" fmla="*/ 524592 w 1715044"/>
              <a:gd name="connsiteY32" fmla="*/ 420983 h 464193"/>
              <a:gd name="connsiteX33" fmla="*/ 545594 w 1715044"/>
              <a:gd name="connsiteY33" fmla="*/ 407253 h 464193"/>
              <a:gd name="connsiteX34" fmla="*/ 528140 w 1715044"/>
              <a:gd name="connsiteY34" fmla="*/ 390987 h 464193"/>
              <a:gd name="connsiteX35" fmla="*/ 520353 w 1715044"/>
              <a:gd name="connsiteY35" fmla="*/ 388610 h 464193"/>
              <a:gd name="connsiteX36" fmla="*/ 496974 w 1715044"/>
              <a:gd name="connsiteY36" fmla="*/ 362854 h 464193"/>
              <a:gd name="connsiteX37" fmla="*/ 527643 w 1715044"/>
              <a:gd name="connsiteY37" fmla="*/ 339812 h 464193"/>
              <a:gd name="connsiteX38" fmla="*/ 554410 w 1715044"/>
              <a:gd name="connsiteY38" fmla="*/ 344211 h 464193"/>
              <a:gd name="connsiteX39" fmla="*/ 552708 w 1715044"/>
              <a:gd name="connsiteY39" fmla="*/ 354216 h 464193"/>
              <a:gd name="connsiteX40" fmla="*/ 527963 w 1715044"/>
              <a:gd name="connsiteY40" fmla="*/ 349976 h 464193"/>
              <a:gd name="connsiteX41" fmla="*/ 508309 w 1715044"/>
              <a:gd name="connsiteY41" fmla="*/ 362517 h 464193"/>
              <a:gd name="connsiteX42" fmla="*/ 525426 w 1715044"/>
              <a:gd name="connsiteY42" fmla="*/ 378446 h 464193"/>
              <a:gd name="connsiteX43" fmla="*/ 533391 w 1715044"/>
              <a:gd name="connsiteY43" fmla="*/ 381160 h 464193"/>
              <a:gd name="connsiteX44" fmla="*/ 557107 w 1715044"/>
              <a:gd name="connsiteY44" fmla="*/ 406916 h 464193"/>
              <a:gd name="connsiteX45" fmla="*/ 524912 w 1715044"/>
              <a:gd name="connsiteY45" fmla="*/ 431306 h 464193"/>
              <a:gd name="connsiteX46" fmla="*/ 495271 w 1715044"/>
              <a:gd name="connsiteY46" fmla="*/ 424708 h 464193"/>
              <a:gd name="connsiteX47" fmla="*/ 642854 w 1715044"/>
              <a:gd name="connsiteY47" fmla="*/ 389639 h 464193"/>
              <a:gd name="connsiteX48" fmla="*/ 580166 w 1715044"/>
              <a:gd name="connsiteY48" fmla="*/ 389639 h 464193"/>
              <a:gd name="connsiteX49" fmla="*/ 611687 w 1715044"/>
              <a:gd name="connsiteY49" fmla="*/ 420823 h 464193"/>
              <a:gd name="connsiteX50" fmla="*/ 640157 w 1715044"/>
              <a:gd name="connsiteY50" fmla="*/ 413533 h 464193"/>
              <a:gd name="connsiteX51" fmla="*/ 638295 w 1715044"/>
              <a:gd name="connsiteY51" fmla="*/ 424885 h 464193"/>
              <a:gd name="connsiteX52" fmla="*/ 611350 w 1715044"/>
              <a:gd name="connsiteY52" fmla="*/ 431324 h 464193"/>
              <a:gd name="connsiteX53" fmla="*/ 568140 w 1715044"/>
              <a:gd name="connsiteY53" fmla="*/ 385063 h 464193"/>
              <a:gd name="connsiteX54" fmla="*/ 607288 w 1715044"/>
              <a:gd name="connsiteY54" fmla="*/ 339830 h 464193"/>
              <a:gd name="connsiteX55" fmla="*/ 643545 w 1715044"/>
              <a:gd name="connsiteY55" fmla="*/ 379138 h 464193"/>
              <a:gd name="connsiteX56" fmla="*/ 642854 w 1715044"/>
              <a:gd name="connsiteY56" fmla="*/ 389639 h 464193"/>
              <a:gd name="connsiteX57" fmla="*/ 580166 w 1715044"/>
              <a:gd name="connsiteY57" fmla="*/ 378961 h 464193"/>
              <a:gd name="connsiteX58" fmla="*/ 631678 w 1715044"/>
              <a:gd name="connsiteY58" fmla="*/ 378961 h 464193"/>
              <a:gd name="connsiteX59" fmla="*/ 631678 w 1715044"/>
              <a:gd name="connsiteY59" fmla="*/ 378287 h 464193"/>
              <a:gd name="connsiteX60" fmla="*/ 606774 w 1715044"/>
              <a:gd name="connsiteY60" fmla="*/ 350154 h 464193"/>
              <a:gd name="connsiteX61" fmla="*/ 580166 w 1715044"/>
              <a:gd name="connsiteY61" fmla="*/ 378961 h 464193"/>
              <a:gd name="connsiteX62" fmla="*/ 704193 w 1715044"/>
              <a:gd name="connsiteY62" fmla="*/ 418446 h 464193"/>
              <a:gd name="connsiteX63" fmla="*/ 702667 w 1715044"/>
              <a:gd name="connsiteY63" fmla="*/ 428610 h 464193"/>
              <a:gd name="connsiteX64" fmla="*/ 687412 w 1715044"/>
              <a:gd name="connsiteY64" fmla="*/ 431324 h 464193"/>
              <a:gd name="connsiteX65" fmla="*/ 661142 w 1715044"/>
              <a:gd name="connsiteY65" fmla="*/ 404220 h 464193"/>
              <a:gd name="connsiteX66" fmla="*/ 661142 w 1715044"/>
              <a:gd name="connsiteY66" fmla="*/ 312903 h 464193"/>
              <a:gd name="connsiteX67" fmla="*/ 673009 w 1715044"/>
              <a:gd name="connsiteY67" fmla="*/ 311041 h 464193"/>
              <a:gd name="connsiteX68" fmla="*/ 673009 w 1715044"/>
              <a:gd name="connsiteY68" fmla="*/ 342384 h 464193"/>
              <a:gd name="connsiteX69" fmla="*/ 703678 w 1715044"/>
              <a:gd name="connsiteY69" fmla="*/ 342384 h 464193"/>
              <a:gd name="connsiteX70" fmla="*/ 702490 w 1715044"/>
              <a:gd name="connsiteY70" fmla="*/ 353063 h 464193"/>
              <a:gd name="connsiteX71" fmla="*/ 673009 w 1715044"/>
              <a:gd name="connsiteY71" fmla="*/ 353063 h 464193"/>
              <a:gd name="connsiteX72" fmla="*/ 673009 w 1715044"/>
              <a:gd name="connsiteY72" fmla="*/ 402872 h 464193"/>
              <a:gd name="connsiteX73" fmla="*/ 689452 w 1715044"/>
              <a:gd name="connsiteY73" fmla="*/ 421178 h 464193"/>
              <a:gd name="connsiteX74" fmla="*/ 704193 w 1715044"/>
              <a:gd name="connsiteY74" fmla="*/ 418446 h 464193"/>
              <a:gd name="connsiteX75" fmla="*/ 870241 w 1715044"/>
              <a:gd name="connsiteY75" fmla="*/ 429284 h 464193"/>
              <a:gd name="connsiteX76" fmla="*/ 857877 w 1715044"/>
              <a:gd name="connsiteY76" fmla="*/ 429284 h 464193"/>
              <a:gd name="connsiteX77" fmla="*/ 854312 w 1715044"/>
              <a:gd name="connsiteY77" fmla="*/ 376247 h 464193"/>
              <a:gd name="connsiteX78" fmla="*/ 851935 w 1715044"/>
              <a:gd name="connsiteY78" fmla="*/ 328797 h 464193"/>
              <a:gd name="connsiteX79" fmla="*/ 832103 w 1715044"/>
              <a:gd name="connsiteY79" fmla="*/ 380468 h 464193"/>
              <a:gd name="connsiteX80" fmla="*/ 812449 w 1715044"/>
              <a:gd name="connsiteY80" fmla="*/ 429266 h 464193"/>
              <a:gd name="connsiteX81" fmla="*/ 803474 w 1715044"/>
              <a:gd name="connsiteY81" fmla="*/ 429266 h 464193"/>
              <a:gd name="connsiteX82" fmla="*/ 782472 w 1715044"/>
              <a:gd name="connsiteY82" fmla="*/ 375892 h 464193"/>
              <a:gd name="connsiteX83" fmla="*/ 764858 w 1715044"/>
              <a:gd name="connsiteY83" fmla="*/ 328956 h 464193"/>
              <a:gd name="connsiteX84" fmla="*/ 761984 w 1715044"/>
              <a:gd name="connsiteY84" fmla="*/ 377240 h 464193"/>
              <a:gd name="connsiteX85" fmla="*/ 757922 w 1715044"/>
              <a:gd name="connsiteY85" fmla="*/ 429249 h 464193"/>
              <a:gd name="connsiteX86" fmla="*/ 745718 w 1715044"/>
              <a:gd name="connsiteY86" fmla="*/ 429249 h 464193"/>
              <a:gd name="connsiteX87" fmla="*/ 754871 w 1715044"/>
              <a:gd name="connsiteY87" fmla="*/ 312673 h 464193"/>
              <a:gd name="connsiteX88" fmla="*/ 769434 w 1715044"/>
              <a:gd name="connsiteY88" fmla="*/ 310810 h 464193"/>
              <a:gd name="connsiteX89" fmla="*/ 808228 w 1715044"/>
              <a:gd name="connsiteY89" fmla="*/ 410606 h 464193"/>
              <a:gd name="connsiteX90" fmla="*/ 846525 w 1715044"/>
              <a:gd name="connsiteY90" fmla="*/ 312673 h 464193"/>
              <a:gd name="connsiteX91" fmla="*/ 861443 w 1715044"/>
              <a:gd name="connsiteY91" fmla="*/ 310810 h 464193"/>
              <a:gd name="connsiteX92" fmla="*/ 870241 w 1715044"/>
              <a:gd name="connsiteY92" fmla="*/ 429284 h 464193"/>
              <a:gd name="connsiteX93" fmla="*/ 960369 w 1715044"/>
              <a:gd name="connsiteY93" fmla="*/ 344566 h 464193"/>
              <a:gd name="connsiteX94" fmla="*/ 960369 w 1715044"/>
              <a:gd name="connsiteY94" fmla="*/ 429284 h 464193"/>
              <a:gd name="connsiteX95" fmla="*/ 949354 w 1715044"/>
              <a:gd name="connsiteY95" fmla="*/ 429284 h 464193"/>
              <a:gd name="connsiteX96" fmla="*/ 949016 w 1715044"/>
              <a:gd name="connsiteY96" fmla="*/ 422686 h 464193"/>
              <a:gd name="connsiteX97" fmla="*/ 925974 w 1715044"/>
              <a:gd name="connsiteY97" fmla="*/ 431324 h 464193"/>
              <a:gd name="connsiteX98" fmla="*/ 887003 w 1715044"/>
              <a:gd name="connsiteY98" fmla="*/ 386251 h 464193"/>
              <a:gd name="connsiteX99" fmla="*/ 932076 w 1715044"/>
              <a:gd name="connsiteY99" fmla="*/ 339830 h 464193"/>
              <a:gd name="connsiteX100" fmla="*/ 960369 w 1715044"/>
              <a:gd name="connsiteY100" fmla="*/ 344566 h 464193"/>
              <a:gd name="connsiteX101" fmla="*/ 927003 w 1715044"/>
              <a:gd name="connsiteY101" fmla="*/ 421497 h 464193"/>
              <a:gd name="connsiteX102" fmla="*/ 948520 w 1715044"/>
              <a:gd name="connsiteY102" fmla="*/ 412859 h 464193"/>
              <a:gd name="connsiteX103" fmla="*/ 948520 w 1715044"/>
              <a:gd name="connsiteY103" fmla="*/ 352371 h 464193"/>
              <a:gd name="connsiteX104" fmla="*/ 932076 w 1715044"/>
              <a:gd name="connsiteY104" fmla="*/ 350331 h 464193"/>
              <a:gd name="connsiteX105" fmla="*/ 899030 w 1715044"/>
              <a:gd name="connsiteY105" fmla="*/ 386251 h 464193"/>
              <a:gd name="connsiteX106" fmla="*/ 927003 w 1715044"/>
              <a:gd name="connsiteY106" fmla="*/ 421497 h 464193"/>
              <a:gd name="connsiteX107" fmla="*/ 1053566 w 1715044"/>
              <a:gd name="connsiteY107" fmla="*/ 372007 h 464193"/>
              <a:gd name="connsiteX108" fmla="*/ 1053566 w 1715044"/>
              <a:gd name="connsiteY108" fmla="*/ 429284 h 464193"/>
              <a:gd name="connsiteX109" fmla="*/ 1041699 w 1715044"/>
              <a:gd name="connsiteY109" fmla="*/ 429284 h 464193"/>
              <a:gd name="connsiteX110" fmla="*/ 1041699 w 1715044"/>
              <a:gd name="connsiteY110" fmla="*/ 374225 h 464193"/>
              <a:gd name="connsiteX111" fmla="*/ 1014932 w 1715044"/>
              <a:gd name="connsiteY111" fmla="*/ 350331 h 464193"/>
              <a:gd name="connsiteX112" fmla="*/ 995278 w 1715044"/>
              <a:gd name="connsiteY112" fmla="*/ 352708 h 464193"/>
              <a:gd name="connsiteX113" fmla="*/ 995278 w 1715044"/>
              <a:gd name="connsiteY113" fmla="*/ 429284 h 464193"/>
              <a:gd name="connsiteX114" fmla="*/ 983411 w 1715044"/>
              <a:gd name="connsiteY114" fmla="*/ 429284 h 464193"/>
              <a:gd name="connsiteX115" fmla="*/ 983411 w 1715044"/>
              <a:gd name="connsiteY115" fmla="*/ 344566 h 464193"/>
              <a:gd name="connsiteX116" fmla="*/ 1015269 w 1715044"/>
              <a:gd name="connsiteY116" fmla="*/ 339830 h 464193"/>
              <a:gd name="connsiteX117" fmla="*/ 1053566 w 1715044"/>
              <a:gd name="connsiteY117" fmla="*/ 372007 h 464193"/>
              <a:gd name="connsiteX118" fmla="*/ 1144386 w 1715044"/>
              <a:gd name="connsiteY118" fmla="*/ 344566 h 464193"/>
              <a:gd name="connsiteX119" fmla="*/ 1144386 w 1715044"/>
              <a:gd name="connsiteY119" fmla="*/ 429284 h 464193"/>
              <a:gd name="connsiteX120" fmla="*/ 1133371 w 1715044"/>
              <a:gd name="connsiteY120" fmla="*/ 429284 h 464193"/>
              <a:gd name="connsiteX121" fmla="*/ 1133034 w 1715044"/>
              <a:gd name="connsiteY121" fmla="*/ 422686 h 464193"/>
              <a:gd name="connsiteX122" fmla="*/ 1109992 w 1715044"/>
              <a:gd name="connsiteY122" fmla="*/ 431324 h 464193"/>
              <a:gd name="connsiteX123" fmla="*/ 1071020 w 1715044"/>
              <a:gd name="connsiteY123" fmla="*/ 386251 h 464193"/>
              <a:gd name="connsiteX124" fmla="*/ 1116094 w 1715044"/>
              <a:gd name="connsiteY124" fmla="*/ 339830 h 464193"/>
              <a:gd name="connsiteX125" fmla="*/ 1144386 w 1715044"/>
              <a:gd name="connsiteY125" fmla="*/ 344566 h 464193"/>
              <a:gd name="connsiteX126" fmla="*/ 1111003 w 1715044"/>
              <a:gd name="connsiteY126" fmla="*/ 421497 h 464193"/>
              <a:gd name="connsiteX127" fmla="*/ 1132519 w 1715044"/>
              <a:gd name="connsiteY127" fmla="*/ 412859 h 464193"/>
              <a:gd name="connsiteX128" fmla="*/ 1132519 w 1715044"/>
              <a:gd name="connsiteY128" fmla="*/ 352371 h 464193"/>
              <a:gd name="connsiteX129" fmla="*/ 1116094 w 1715044"/>
              <a:gd name="connsiteY129" fmla="*/ 350331 h 464193"/>
              <a:gd name="connsiteX130" fmla="*/ 1083047 w 1715044"/>
              <a:gd name="connsiteY130" fmla="*/ 386251 h 464193"/>
              <a:gd name="connsiteX131" fmla="*/ 1111003 w 1715044"/>
              <a:gd name="connsiteY131" fmla="*/ 421497 h 464193"/>
              <a:gd name="connsiteX132" fmla="*/ 1236217 w 1715044"/>
              <a:gd name="connsiteY132" fmla="*/ 344566 h 464193"/>
              <a:gd name="connsiteX133" fmla="*/ 1236217 w 1715044"/>
              <a:gd name="connsiteY133" fmla="*/ 426074 h 464193"/>
              <a:gd name="connsiteX134" fmla="*/ 1195561 w 1715044"/>
              <a:gd name="connsiteY134" fmla="*/ 464193 h 464193"/>
              <a:gd name="connsiteX135" fmla="*/ 1170142 w 1715044"/>
              <a:gd name="connsiteY135" fmla="*/ 459280 h 464193"/>
              <a:gd name="connsiteX136" fmla="*/ 1171331 w 1715044"/>
              <a:gd name="connsiteY136" fmla="*/ 448779 h 464193"/>
              <a:gd name="connsiteX137" fmla="*/ 1195561 w 1715044"/>
              <a:gd name="connsiteY137" fmla="*/ 454029 h 464193"/>
              <a:gd name="connsiteX138" fmla="*/ 1224368 w 1715044"/>
              <a:gd name="connsiteY138" fmla="*/ 427599 h 464193"/>
              <a:gd name="connsiteX139" fmla="*/ 1224368 w 1715044"/>
              <a:gd name="connsiteY139" fmla="*/ 423023 h 464193"/>
              <a:gd name="connsiteX140" fmla="*/ 1201840 w 1715044"/>
              <a:gd name="connsiteY140" fmla="*/ 431324 h 464193"/>
              <a:gd name="connsiteX141" fmla="*/ 1162869 w 1715044"/>
              <a:gd name="connsiteY141" fmla="*/ 386251 h 464193"/>
              <a:gd name="connsiteX142" fmla="*/ 1207942 w 1715044"/>
              <a:gd name="connsiteY142" fmla="*/ 339830 h 464193"/>
              <a:gd name="connsiteX143" fmla="*/ 1236217 w 1715044"/>
              <a:gd name="connsiteY143" fmla="*/ 344566 h 464193"/>
              <a:gd name="connsiteX144" fmla="*/ 1224350 w 1715044"/>
              <a:gd name="connsiteY144" fmla="*/ 412841 h 464193"/>
              <a:gd name="connsiteX145" fmla="*/ 1224350 w 1715044"/>
              <a:gd name="connsiteY145" fmla="*/ 352353 h 464193"/>
              <a:gd name="connsiteX146" fmla="*/ 1207907 w 1715044"/>
              <a:gd name="connsiteY146" fmla="*/ 350313 h 464193"/>
              <a:gd name="connsiteX147" fmla="*/ 1174860 w 1715044"/>
              <a:gd name="connsiteY147" fmla="*/ 386233 h 464193"/>
              <a:gd name="connsiteX148" fmla="*/ 1202816 w 1715044"/>
              <a:gd name="connsiteY148" fmla="*/ 421479 h 464193"/>
              <a:gd name="connsiteX149" fmla="*/ 1224350 w 1715044"/>
              <a:gd name="connsiteY149" fmla="*/ 412841 h 464193"/>
              <a:gd name="connsiteX150" fmla="*/ 1325352 w 1715044"/>
              <a:gd name="connsiteY150" fmla="*/ 389639 h 464193"/>
              <a:gd name="connsiteX151" fmla="*/ 1262665 w 1715044"/>
              <a:gd name="connsiteY151" fmla="*/ 389639 h 464193"/>
              <a:gd name="connsiteX152" fmla="*/ 1294186 w 1715044"/>
              <a:gd name="connsiteY152" fmla="*/ 420823 h 464193"/>
              <a:gd name="connsiteX153" fmla="*/ 1322656 w 1715044"/>
              <a:gd name="connsiteY153" fmla="*/ 413533 h 464193"/>
              <a:gd name="connsiteX154" fmla="*/ 1320793 w 1715044"/>
              <a:gd name="connsiteY154" fmla="*/ 424885 h 464193"/>
              <a:gd name="connsiteX155" fmla="*/ 1293849 w 1715044"/>
              <a:gd name="connsiteY155" fmla="*/ 431324 h 464193"/>
              <a:gd name="connsiteX156" fmla="*/ 1250638 w 1715044"/>
              <a:gd name="connsiteY156" fmla="*/ 385063 h 464193"/>
              <a:gd name="connsiteX157" fmla="*/ 1289769 w 1715044"/>
              <a:gd name="connsiteY157" fmla="*/ 339830 h 464193"/>
              <a:gd name="connsiteX158" fmla="*/ 1326026 w 1715044"/>
              <a:gd name="connsiteY158" fmla="*/ 379138 h 464193"/>
              <a:gd name="connsiteX159" fmla="*/ 1325352 w 1715044"/>
              <a:gd name="connsiteY159" fmla="*/ 389639 h 464193"/>
              <a:gd name="connsiteX160" fmla="*/ 1262647 w 1715044"/>
              <a:gd name="connsiteY160" fmla="*/ 378961 h 464193"/>
              <a:gd name="connsiteX161" fmla="*/ 1314159 w 1715044"/>
              <a:gd name="connsiteY161" fmla="*/ 378961 h 464193"/>
              <a:gd name="connsiteX162" fmla="*/ 1314159 w 1715044"/>
              <a:gd name="connsiteY162" fmla="*/ 378287 h 464193"/>
              <a:gd name="connsiteX163" fmla="*/ 1289255 w 1715044"/>
              <a:gd name="connsiteY163" fmla="*/ 350154 h 464193"/>
              <a:gd name="connsiteX164" fmla="*/ 1262647 w 1715044"/>
              <a:gd name="connsiteY164" fmla="*/ 378961 h 464193"/>
              <a:gd name="connsiteX165" fmla="*/ 1470043 w 1715044"/>
              <a:gd name="connsiteY165" fmla="*/ 372007 h 464193"/>
              <a:gd name="connsiteX166" fmla="*/ 1470043 w 1715044"/>
              <a:gd name="connsiteY166" fmla="*/ 429284 h 464193"/>
              <a:gd name="connsiteX167" fmla="*/ 1458176 w 1715044"/>
              <a:gd name="connsiteY167" fmla="*/ 429284 h 464193"/>
              <a:gd name="connsiteX168" fmla="*/ 1458176 w 1715044"/>
              <a:gd name="connsiteY168" fmla="*/ 373888 h 464193"/>
              <a:gd name="connsiteX169" fmla="*/ 1433272 w 1715044"/>
              <a:gd name="connsiteY169" fmla="*/ 350331 h 464193"/>
              <a:gd name="connsiteX170" fmla="*/ 1410744 w 1715044"/>
              <a:gd name="connsiteY170" fmla="*/ 355245 h 464193"/>
              <a:gd name="connsiteX171" fmla="*/ 1413618 w 1715044"/>
              <a:gd name="connsiteY171" fmla="*/ 372025 h 464193"/>
              <a:gd name="connsiteX172" fmla="*/ 1413618 w 1715044"/>
              <a:gd name="connsiteY172" fmla="*/ 429302 h 464193"/>
              <a:gd name="connsiteX173" fmla="*/ 1401751 w 1715044"/>
              <a:gd name="connsiteY173" fmla="*/ 429302 h 464193"/>
              <a:gd name="connsiteX174" fmla="*/ 1401751 w 1715044"/>
              <a:gd name="connsiteY174" fmla="*/ 373550 h 464193"/>
              <a:gd name="connsiteX175" fmla="*/ 1376846 w 1715044"/>
              <a:gd name="connsiteY175" fmla="*/ 350331 h 464193"/>
              <a:gd name="connsiteX176" fmla="*/ 1356518 w 1715044"/>
              <a:gd name="connsiteY176" fmla="*/ 352708 h 464193"/>
              <a:gd name="connsiteX177" fmla="*/ 1356518 w 1715044"/>
              <a:gd name="connsiteY177" fmla="*/ 429284 h 464193"/>
              <a:gd name="connsiteX178" fmla="*/ 1344651 w 1715044"/>
              <a:gd name="connsiteY178" fmla="*/ 429284 h 464193"/>
              <a:gd name="connsiteX179" fmla="*/ 1344651 w 1715044"/>
              <a:gd name="connsiteY179" fmla="*/ 344566 h 464193"/>
              <a:gd name="connsiteX180" fmla="*/ 1378035 w 1715044"/>
              <a:gd name="connsiteY180" fmla="*/ 339830 h 464193"/>
              <a:gd name="connsiteX181" fmla="*/ 1404642 w 1715044"/>
              <a:gd name="connsiteY181" fmla="*/ 346943 h 464193"/>
              <a:gd name="connsiteX182" fmla="*/ 1434301 w 1715044"/>
              <a:gd name="connsiteY182" fmla="*/ 339830 h 464193"/>
              <a:gd name="connsiteX183" fmla="*/ 1470043 w 1715044"/>
              <a:gd name="connsiteY183" fmla="*/ 372007 h 464193"/>
              <a:gd name="connsiteX184" fmla="*/ 1561538 w 1715044"/>
              <a:gd name="connsiteY184" fmla="*/ 389639 h 464193"/>
              <a:gd name="connsiteX185" fmla="*/ 1498850 w 1715044"/>
              <a:gd name="connsiteY185" fmla="*/ 389639 h 464193"/>
              <a:gd name="connsiteX186" fmla="*/ 1530371 w 1715044"/>
              <a:gd name="connsiteY186" fmla="*/ 420823 h 464193"/>
              <a:gd name="connsiteX187" fmla="*/ 1558841 w 1715044"/>
              <a:gd name="connsiteY187" fmla="*/ 413533 h 464193"/>
              <a:gd name="connsiteX188" fmla="*/ 1556979 w 1715044"/>
              <a:gd name="connsiteY188" fmla="*/ 424885 h 464193"/>
              <a:gd name="connsiteX189" fmla="*/ 1530034 w 1715044"/>
              <a:gd name="connsiteY189" fmla="*/ 431324 h 464193"/>
              <a:gd name="connsiteX190" fmla="*/ 1486824 w 1715044"/>
              <a:gd name="connsiteY190" fmla="*/ 385063 h 464193"/>
              <a:gd name="connsiteX191" fmla="*/ 1525972 w 1715044"/>
              <a:gd name="connsiteY191" fmla="*/ 339830 h 464193"/>
              <a:gd name="connsiteX192" fmla="*/ 1562229 w 1715044"/>
              <a:gd name="connsiteY192" fmla="*/ 379138 h 464193"/>
              <a:gd name="connsiteX193" fmla="*/ 1561538 w 1715044"/>
              <a:gd name="connsiteY193" fmla="*/ 389639 h 464193"/>
              <a:gd name="connsiteX194" fmla="*/ 1498850 w 1715044"/>
              <a:gd name="connsiteY194" fmla="*/ 378961 h 464193"/>
              <a:gd name="connsiteX195" fmla="*/ 1550362 w 1715044"/>
              <a:gd name="connsiteY195" fmla="*/ 378961 h 464193"/>
              <a:gd name="connsiteX196" fmla="*/ 1550362 w 1715044"/>
              <a:gd name="connsiteY196" fmla="*/ 378287 h 464193"/>
              <a:gd name="connsiteX197" fmla="*/ 1525458 w 1715044"/>
              <a:gd name="connsiteY197" fmla="*/ 350154 h 464193"/>
              <a:gd name="connsiteX198" fmla="*/ 1498850 w 1715044"/>
              <a:gd name="connsiteY198" fmla="*/ 378961 h 464193"/>
              <a:gd name="connsiteX199" fmla="*/ 1650992 w 1715044"/>
              <a:gd name="connsiteY199" fmla="*/ 372007 h 464193"/>
              <a:gd name="connsiteX200" fmla="*/ 1650992 w 1715044"/>
              <a:gd name="connsiteY200" fmla="*/ 429284 h 464193"/>
              <a:gd name="connsiteX201" fmla="*/ 1639125 w 1715044"/>
              <a:gd name="connsiteY201" fmla="*/ 429284 h 464193"/>
              <a:gd name="connsiteX202" fmla="*/ 1639125 w 1715044"/>
              <a:gd name="connsiteY202" fmla="*/ 374225 h 464193"/>
              <a:gd name="connsiteX203" fmla="*/ 1612358 w 1715044"/>
              <a:gd name="connsiteY203" fmla="*/ 350331 h 464193"/>
              <a:gd name="connsiteX204" fmla="*/ 1592704 w 1715044"/>
              <a:gd name="connsiteY204" fmla="*/ 352708 h 464193"/>
              <a:gd name="connsiteX205" fmla="*/ 1592704 w 1715044"/>
              <a:gd name="connsiteY205" fmla="*/ 429284 h 464193"/>
              <a:gd name="connsiteX206" fmla="*/ 1580837 w 1715044"/>
              <a:gd name="connsiteY206" fmla="*/ 429284 h 464193"/>
              <a:gd name="connsiteX207" fmla="*/ 1580837 w 1715044"/>
              <a:gd name="connsiteY207" fmla="*/ 344566 h 464193"/>
              <a:gd name="connsiteX208" fmla="*/ 1612695 w 1715044"/>
              <a:gd name="connsiteY208" fmla="*/ 339830 h 464193"/>
              <a:gd name="connsiteX209" fmla="*/ 1650992 w 1715044"/>
              <a:gd name="connsiteY209" fmla="*/ 372007 h 464193"/>
              <a:gd name="connsiteX210" fmla="*/ 1715045 w 1715044"/>
              <a:gd name="connsiteY210" fmla="*/ 418446 h 464193"/>
              <a:gd name="connsiteX211" fmla="*/ 1713519 w 1715044"/>
              <a:gd name="connsiteY211" fmla="*/ 428610 h 464193"/>
              <a:gd name="connsiteX212" fmla="*/ 1698264 w 1715044"/>
              <a:gd name="connsiteY212" fmla="*/ 431324 h 464193"/>
              <a:gd name="connsiteX213" fmla="*/ 1671994 w 1715044"/>
              <a:gd name="connsiteY213" fmla="*/ 404220 h 464193"/>
              <a:gd name="connsiteX214" fmla="*/ 1671994 w 1715044"/>
              <a:gd name="connsiteY214" fmla="*/ 312903 h 464193"/>
              <a:gd name="connsiteX215" fmla="*/ 1683861 w 1715044"/>
              <a:gd name="connsiteY215" fmla="*/ 311041 h 464193"/>
              <a:gd name="connsiteX216" fmla="*/ 1683861 w 1715044"/>
              <a:gd name="connsiteY216" fmla="*/ 342384 h 464193"/>
              <a:gd name="connsiteX217" fmla="*/ 1714530 w 1715044"/>
              <a:gd name="connsiteY217" fmla="*/ 342384 h 464193"/>
              <a:gd name="connsiteX218" fmla="*/ 1713342 w 1715044"/>
              <a:gd name="connsiteY218" fmla="*/ 353063 h 464193"/>
              <a:gd name="connsiteX219" fmla="*/ 1683861 w 1715044"/>
              <a:gd name="connsiteY219" fmla="*/ 353063 h 464193"/>
              <a:gd name="connsiteX220" fmla="*/ 1683861 w 1715044"/>
              <a:gd name="connsiteY220" fmla="*/ 402872 h 464193"/>
              <a:gd name="connsiteX221" fmla="*/ 1700304 w 1715044"/>
              <a:gd name="connsiteY221" fmla="*/ 421178 h 464193"/>
              <a:gd name="connsiteX222" fmla="*/ 1715045 w 1715044"/>
              <a:gd name="connsiteY222" fmla="*/ 418446 h 464193"/>
              <a:gd name="connsiteX223" fmla="*/ 190935 w 1715044"/>
              <a:gd name="connsiteY223" fmla="*/ 116097 h 464193"/>
              <a:gd name="connsiteX224" fmla="*/ 183254 w 1715044"/>
              <a:gd name="connsiteY224" fmla="*/ 89720 h 464193"/>
              <a:gd name="connsiteX225" fmla="*/ 141534 w 1715044"/>
              <a:gd name="connsiteY225" fmla="*/ 17472 h 464193"/>
              <a:gd name="connsiteX226" fmla="*/ 134935 w 1715044"/>
              <a:gd name="connsiteY226" fmla="*/ 0 h 464193"/>
              <a:gd name="connsiteX227" fmla="*/ 133197 w 1715044"/>
              <a:gd name="connsiteY227" fmla="*/ 3016 h 464193"/>
              <a:gd name="connsiteX228" fmla="*/ 133197 w 1715044"/>
              <a:gd name="connsiteY228" fmla="*/ 60807 h 464193"/>
              <a:gd name="connsiteX229" fmla="*/ 166563 w 1715044"/>
              <a:gd name="connsiteY229" fmla="*/ 118598 h 464193"/>
              <a:gd name="connsiteX230" fmla="*/ 166563 w 1715044"/>
              <a:gd name="connsiteY230" fmla="*/ 176389 h 464193"/>
              <a:gd name="connsiteX231" fmla="*/ 164824 w 1715044"/>
              <a:gd name="connsiteY231" fmla="*/ 179405 h 464193"/>
              <a:gd name="connsiteX232" fmla="*/ 158226 w 1715044"/>
              <a:gd name="connsiteY232" fmla="*/ 161933 h 464193"/>
              <a:gd name="connsiteX233" fmla="*/ 127680 w 1715044"/>
              <a:gd name="connsiteY233" fmla="*/ 109037 h 464193"/>
              <a:gd name="connsiteX234" fmla="*/ 108168 w 1715044"/>
              <a:gd name="connsiteY234" fmla="*/ 75264 h 464193"/>
              <a:gd name="connsiteX235" fmla="*/ 101569 w 1715044"/>
              <a:gd name="connsiteY235" fmla="*/ 57791 h 464193"/>
              <a:gd name="connsiteX236" fmla="*/ 99831 w 1715044"/>
              <a:gd name="connsiteY236" fmla="*/ 60807 h 464193"/>
              <a:gd name="connsiteX237" fmla="*/ 99725 w 1715044"/>
              <a:gd name="connsiteY237" fmla="*/ 118421 h 464193"/>
              <a:gd name="connsiteX238" fmla="*/ 99725 w 1715044"/>
              <a:gd name="connsiteY238" fmla="*/ 118421 h 464193"/>
              <a:gd name="connsiteX239" fmla="*/ 133197 w 1715044"/>
              <a:gd name="connsiteY239" fmla="*/ 176389 h 464193"/>
              <a:gd name="connsiteX240" fmla="*/ 133197 w 1715044"/>
              <a:gd name="connsiteY240" fmla="*/ 234181 h 464193"/>
              <a:gd name="connsiteX241" fmla="*/ 131459 w 1715044"/>
              <a:gd name="connsiteY241" fmla="*/ 237196 h 464193"/>
              <a:gd name="connsiteX242" fmla="*/ 124860 w 1715044"/>
              <a:gd name="connsiteY242" fmla="*/ 219724 h 464193"/>
              <a:gd name="connsiteX243" fmla="*/ 83157 w 1715044"/>
              <a:gd name="connsiteY243" fmla="*/ 147494 h 464193"/>
              <a:gd name="connsiteX244" fmla="*/ 75476 w 1715044"/>
              <a:gd name="connsiteY244" fmla="*/ 116097 h 464193"/>
              <a:gd name="connsiteX245" fmla="*/ 0 w 1715044"/>
              <a:gd name="connsiteY245" fmla="*/ 181214 h 464193"/>
              <a:gd name="connsiteX246" fmla="*/ 133197 w 1715044"/>
              <a:gd name="connsiteY246" fmla="*/ 253462 h 464193"/>
              <a:gd name="connsiteX247" fmla="*/ 266394 w 1715044"/>
              <a:gd name="connsiteY247" fmla="*/ 181214 h 464193"/>
              <a:gd name="connsiteX248" fmla="*/ 190935 w 1715044"/>
              <a:gd name="connsiteY248" fmla="*/ 116097 h 464193"/>
              <a:gd name="connsiteX249" fmla="*/ 316682 w 1715044"/>
              <a:gd name="connsiteY249" fmla="*/ 239449 h 464193"/>
              <a:gd name="connsiteX250" fmla="*/ 321436 w 1715044"/>
              <a:gd name="connsiteY250" fmla="*/ 214172 h 464193"/>
              <a:gd name="connsiteX251" fmla="*/ 367218 w 1715044"/>
              <a:gd name="connsiteY251" fmla="*/ 223928 h 464193"/>
              <a:gd name="connsiteX252" fmla="*/ 403493 w 1715044"/>
              <a:gd name="connsiteY252" fmla="*/ 201667 h 464193"/>
              <a:gd name="connsiteX253" fmla="*/ 370464 w 1715044"/>
              <a:gd name="connsiteY253" fmla="*/ 170146 h 464193"/>
              <a:gd name="connsiteX254" fmla="*/ 357710 w 1715044"/>
              <a:gd name="connsiteY254" fmla="*/ 164647 h 464193"/>
              <a:gd name="connsiteX255" fmla="*/ 318172 w 1715044"/>
              <a:gd name="connsiteY255" fmla="*/ 114607 h 464193"/>
              <a:gd name="connsiteX256" fmla="*/ 378464 w 1715044"/>
              <a:gd name="connsiteY256" fmla="*/ 67813 h 464193"/>
              <a:gd name="connsiteX257" fmla="*/ 424247 w 1715044"/>
              <a:gd name="connsiteY257" fmla="*/ 75068 h 464193"/>
              <a:gd name="connsiteX258" fmla="*/ 419245 w 1715044"/>
              <a:gd name="connsiteY258" fmla="*/ 100097 h 464193"/>
              <a:gd name="connsiteX259" fmla="*/ 378216 w 1715044"/>
              <a:gd name="connsiteY259" fmla="*/ 92842 h 464193"/>
              <a:gd name="connsiteX260" fmla="*/ 346447 w 1715044"/>
              <a:gd name="connsiteY260" fmla="*/ 114607 h 464193"/>
              <a:gd name="connsiteX261" fmla="*/ 373710 w 1715044"/>
              <a:gd name="connsiteY261" fmla="*/ 142634 h 464193"/>
              <a:gd name="connsiteX262" fmla="*/ 387227 w 1715044"/>
              <a:gd name="connsiteY262" fmla="*/ 148381 h 464193"/>
              <a:gd name="connsiteX263" fmla="*/ 432264 w 1715044"/>
              <a:gd name="connsiteY263" fmla="*/ 200425 h 464193"/>
              <a:gd name="connsiteX264" fmla="*/ 367963 w 1715044"/>
              <a:gd name="connsiteY264" fmla="*/ 248957 h 464193"/>
              <a:gd name="connsiteX265" fmla="*/ 316682 w 1715044"/>
              <a:gd name="connsiteY265" fmla="*/ 239449 h 464193"/>
              <a:gd name="connsiteX266" fmla="*/ 566632 w 1715044"/>
              <a:gd name="connsiteY266" fmla="*/ 119840 h 464193"/>
              <a:gd name="connsiteX267" fmla="*/ 566632 w 1715044"/>
              <a:gd name="connsiteY267" fmla="*/ 244948 h 464193"/>
              <a:gd name="connsiteX268" fmla="*/ 541373 w 1715044"/>
              <a:gd name="connsiteY268" fmla="*/ 244948 h 464193"/>
              <a:gd name="connsiteX269" fmla="*/ 539865 w 1715044"/>
              <a:gd name="connsiteY269" fmla="*/ 229941 h 464193"/>
              <a:gd name="connsiteX270" fmla="*/ 504584 w 1715044"/>
              <a:gd name="connsiteY270" fmla="*/ 247946 h 464193"/>
              <a:gd name="connsiteX271" fmla="*/ 449542 w 1715044"/>
              <a:gd name="connsiteY271" fmla="*/ 181888 h 464193"/>
              <a:gd name="connsiteX272" fmla="*/ 519342 w 1715044"/>
              <a:gd name="connsiteY272" fmla="*/ 112833 h 464193"/>
              <a:gd name="connsiteX273" fmla="*/ 566632 w 1715044"/>
              <a:gd name="connsiteY273" fmla="*/ 119840 h 464193"/>
              <a:gd name="connsiteX274" fmla="*/ 539120 w 1715044"/>
              <a:gd name="connsiteY274" fmla="*/ 216425 h 464193"/>
              <a:gd name="connsiteX275" fmla="*/ 539120 w 1715044"/>
              <a:gd name="connsiteY275" fmla="*/ 137862 h 464193"/>
              <a:gd name="connsiteX276" fmla="*/ 519360 w 1715044"/>
              <a:gd name="connsiteY276" fmla="*/ 136354 h 464193"/>
              <a:gd name="connsiteX277" fmla="*/ 477568 w 1715044"/>
              <a:gd name="connsiteY277" fmla="*/ 181888 h 464193"/>
              <a:gd name="connsiteX278" fmla="*/ 512353 w 1715044"/>
              <a:gd name="connsiteY278" fmla="*/ 225418 h 464193"/>
              <a:gd name="connsiteX279" fmla="*/ 539120 w 1715044"/>
              <a:gd name="connsiteY279" fmla="*/ 216425 h 464193"/>
              <a:gd name="connsiteX280" fmla="*/ 707510 w 1715044"/>
              <a:gd name="connsiteY280" fmla="*/ 160886 h 464193"/>
              <a:gd name="connsiteX281" fmla="*/ 707510 w 1715044"/>
              <a:gd name="connsiteY281" fmla="*/ 244948 h 464193"/>
              <a:gd name="connsiteX282" fmla="*/ 679980 w 1715044"/>
              <a:gd name="connsiteY282" fmla="*/ 244948 h 464193"/>
              <a:gd name="connsiteX283" fmla="*/ 679980 w 1715044"/>
              <a:gd name="connsiteY283" fmla="*/ 165640 h 464193"/>
              <a:gd name="connsiteX284" fmla="*/ 645958 w 1715044"/>
              <a:gd name="connsiteY284" fmla="*/ 136372 h 464193"/>
              <a:gd name="connsiteX285" fmla="*/ 624193 w 1715044"/>
              <a:gd name="connsiteY285" fmla="*/ 138376 h 464193"/>
              <a:gd name="connsiteX286" fmla="*/ 624193 w 1715044"/>
              <a:gd name="connsiteY286" fmla="*/ 244966 h 464193"/>
              <a:gd name="connsiteX287" fmla="*/ 596663 w 1715044"/>
              <a:gd name="connsiteY287" fmla="*/ 244966 h 464193"/>
              <a:gd name="connsiteX288" fmla="*/ 596663 w 1715044"/>
              <a:gd name="connsiteY288" fmla="*/ 119840 h 464193"/>
              <a:gd name="connsiteX289" fmla="*/ 646703 w 1715044"/>
              <a:gd name="connsiteY289" fmla="*/ 112833 h 464193"/>
              <a:gd name="connsiteX290" fmla="*/ 707510 w 1715044"/>
              <a:gd name="connsiteY290" fmla="*/ 160886 h 464193"/>
              <a:gd name="connsiteX291" fmla="*/ 783820 w 1715044"/>
              <a:gd name="connsiteY291" fmla="*/ 224425 h 464193"/>
              <a:gd name="connsiteX292" fmla="*/ 805336 w 1715044"/>
              <a:gd name="connsiteY292" fmla="*/ 220664 h 464193"/>
              <a:gd name="connsiteX293" fmla="*/ 802090 w 1715044"/>
              <a:gd name="connsiteY293" fmla="*/ 243937 h 464193"/>
              <a:gd name="connsiteX294" fmla="*/ 778818 w 1715044"/>
              <a:gd name="connsiteY294" fmla="*/ 247946 h 464193"/>
              <a:gd name="connsiteX295" fmla="*/ 735039 w 1715044"/>
              <a:gd name="connsiteY295" fmla="*/ 205161 h 464193"/>
              <a:gd name="connsiteX296" fmla="*/ 735039 w 1715044"/>
              <a:gd name="connsiteY296" fmla="*/ 73809 h 464193"/>
              <a:gd name="connsiteX297" fmla="*/ 762569 w 1715044"/>
              <a:gd name="connsiteY297" fmla="*/ 69800 h 464193"/>
              <a:gd name="connsiteX298" fmla="*/ 762569 w 1715044"/>
              <a:gd name="connsiteY298" fmla="*/ 117090 h 464193"/>
              <a:gd name="connsiteX299" fmla="*/ 806099 w 1715044"/>
              <a:gd name="connsiteY299" fmla="*/ 117090 h 464193"/>
              <a:gd name="connsiteX300" fmla="*/ 803598 w 1715044"/>
              <a:gd name="connsiteY300" fmla="*/ 140611 h 464193"/>
              <a:gd name="connsiteX301" fmla="*/ 762569 w 1715044"/>
              <a:gd name="connsiteY301" fmla="*/ 140611 h 464193"/>
              <a:gd name="connsiteX302" fmla="*/ 762569 w 1715044"/>
              <a:gd name="connsiteY302" fmla="*/ 201915 h 464193"/>
              <a:gd name="connsiteX303" fmla="*/ 783820 w 1715044"/>
              <a:gd name="connsiteY303" fmla="*/ 224425 h 464193"/>
              <a:gd name="connsiteX304" fmla="*/ 931456 w 1715044"/>
              <a:gd name="connsiteY304" fmla="*/ 119840 h 464193"/>
              <a:gd name="connsiteX305" fmla="*/ 931456 w 1715044"/>
              <a:gd name="connsiteY305" fmla="*/ 244948 h 464193"/>
              <a:gd name="connsiteX306" fmla="*/ 906178 w 1715044"/>
              <a:gd name="connsiteY306" fmla="*/ 244948 h 464193"/>
              <a:gd name="connsiteX307" fmla="*/ 904671 w 1715044"/>
              <a:gd name="connsiteY307" fmla="*/ 229941 h 464193"/>
              <a:gd name="connsiteX308" fmla="*/ 869389 w 1715044"/>
              <a:gd name="connsiteY308" fmla="*/ 247946 h 464193"/>
              <a:gd name="connsiteX309" fmla="*/ 814347 w 1715044"/>
              <a:gd name="connsiteY309" fmla="*/ 181888 h 464193"/>
              <a:gd name="connsiteX310" fmla="*/ 884148 w 1715044"/>
              <a:gd name="connsiteY310" fmla="*/ 112833 h 464193"/>
              <a:gd name="connsiteX311" fmla="*/ 931456 w 1715044"/>
              <a:gd name="connsiteY311" fmla="*/ 119840 h 464193"/>
              <a:gd name="connsiteX312" fmla="*/ 903926 w 1715044"/>
              <a:gd name="connsiteY312" fmla="*/ 216425 h 464193"/>
              <a:gd name="connsiteX313" fmla="*/ 903926 w 1715044"/>
              <a:gd name="connsiteY313" fmla="*/ 137862 h 464193"/>
              <a:gd name="connsiteX314" fmla="*/ 884165 w 1715044"/>
              <a:gd name="connsiteY314" fmla="*/ 136354 h 464193"/>
              <a:gd name="connsiteX315" fmla="*/ 842374 w 1715044"/>
              <a:gd name="connsiteY315" fmla="*/ 181888 h 464193"/>
              <a:gd name="connsiteX316" fmla="*/ 877159 w 1715044"/>
              <a:gd name="connsiteY316" fmla="*/ 225418 h 464193"/>
              <a:gd name="connsiteX317" fmla="*/ 903926 w 1715044"/>
              <a:gd name="connsiteY317" fmla="*/ 216425 h 464193"/>
              <a:gd name="connsiteX318" fmla="*/ 1072315 w 1715044"/>
              <a:gd name="connsiteY318" fmla="*/ 160886 h 464193"/>
              <a:gd name="connsiteX319" fmla="*/ 1072315 w 1715044"/>
              <a:gd name="connsiteY319" fmla="*/ 244948 h 464193"/>
              <a:gd name="connsiteX320" fmla="*/ 1044786 w 1715044"/>
              <a:gd name="connsiteY320" fmla="*/ 244948 h 464193"/>
              <a:gd name="connsiteX321" fmla="*/ 1044786 w 1715044"/>
              <a:gd name="connsiteY321" fmla="*/ 165640 h 464193"/>
              <a:gd name="connsiteX322" fmla="*/ 1010763 w 1715044"/>
              <a:gd name="connsiteY322" fmla="*/ 136372 h 464193"/>
              <a:gd name="connsiteX323" fmla="*/ 988999 w 1715044"/>
              <a:gd name="connsiteY323" fmla="*/ 138376 h 464193"/>
              <a:gd name="connsiteX324" fmla="*/ 988999 w 1715044"/>
              <a:gd name="connsiteY324" fmla="*/ 244966 h 464193"/>
              <a:gd name="connsiteX325" fmla="*/ 961469 w 1715044"/>
              <a:gd name="connsiteY325" fmla="*/ 244966 h 464193"/>
              <a:gd name="connsiteX326" fmla="*/ 961469 w 1715044"/>
              <a:gd name="connsiteY326" fmla="*/ 119840 h 464193"/>
              <a:gd name="connsiteX327" fmla="*/ 1011508 w 1715044"/>
              <a:gd name="connsiteY327" fmla="*/ 112833 h 464193"/>
              <a:gd name="connsiteX328" fmla="*/ 1072315 w 1715044"/>
              <a:gd name="connsiteY328" fmla="*/ 160886 h 464193"/>
              <a:gd name="connsiteX329" fmla="*/ 1211933 w 1715044"/>
              <a:gd name="connsiteY329" fmla="*/ 69800 h 464193"/>
              <a:gd name="connsiteX330" fmla="*/ 1211933 w 1715044"/>
              <a:gd name="connsiteY330" fmla="*/ 244930 h 464193"/>
              <a:gd name="connsiteX331" fmla="*/ 1186656 w 1715044"/>
              <a:gd name="connsiteY331" fmla="*/ 244930 h 464193"/>
              <a:gd name="connsiteX332" fmla="*/ 1185149 w 1715044"/>
              <a:gd name="connsiteY332" fmla="*/ 228913 h 464193"/>
              <a:gd name="connsiteX333" fmla="*/ 1149371 w 1715044"/>
              <a:gd name="connsiteY333" fmla="*/ 247928 h 464193"/>
              <a:gd name="connsiteX334" fmla="*/ 1094329 w 1715044"/>
              <a:gd name="connsiteY334" fmla="*/ 181871 h 464193"/>
              <a:gd name="connsiteX335" fmla="*/ 1164129 w 1715044"/>
              <a:gd name="connsiteY335" fmla="*/ 112815 h 464193"/>
              <a:gd name="connsiteX336" fmla="*/ 1184652 w 1715044"/>
              <a:gd name="connsiteY336" fmla="*/ 114820 h 464193"/>
              <a:gd name="connsiteX337" fmla="*/ 1184652 w 1715044"/>
              <a:gd name="connsiteY337" fmla="*/ 73561 h 464193"/>
              <a:gd name="connsiteX338" fmla="*/ 1211933 w 1715044"/>
              <a:gd name="connsiteY338" fmla="*/ 69800 h 464193"/>
              <a:gd name="connsiteX339" fmla="*/ 1184652 w 1715044"/>
              <a:gd name="connsiteY339" fmla="*/ 215928 h 464193"/>
              <a:gd name="connsiteX340" fmla="*/ 1184652 w 1715044"/>
              <a:gd name="connsiteY340" fmla="*/ 138855 h 464193"/>
              <a:gd name="connsiteX341" fmla="*/ 1162639 w 1715044"/>
              <a:gd name="connsiteY341" fmla="*/ 136354 h 464193"/>
              <a:gd name="connsiteX342" fmla="*/ 1122355 w 1715044"/>
              <a:gd name="connsiteY342" fmla="*/ 181888 h 464193"/>
              <a:gd name="connsiteX343" fmla="*/ 1157140 w 1715044"/>
              <a:gd name="connsiteY343" fmla="*/ 225418 h 464193"/>
              <a:gd name="connsiteX344" fmla="*/ 1184652 w 1715044"/>
              <a:gd name="connsiteY344" fmla="*/ 215928 h 464193"/>
              <a:gd name="connsiteX345" fmla="*/ 1350292 w 1715044"/>
              <a:gd name="connsiteY345" fmla="*/ 191396 h 464193"/>
              <a:gd name="connsiteX346" fmla="*/ 1262470 w 1715044"/>
              <a:gd name="connsiteY346" fmla="*/ 191396 h 464193"/>
              <a:gd name="connsiteX347" fmla="*/ 1303499 w 1715044"/>
              <a:gd name="connsiteY347" fmla="*/ 224425 h 464193"/>
              <a:gd name="connsiteX348" fmla="*/ 1347525 w 1715044"/>
              <a:gd name="connsiteY348" fmla="*/ 214917 h 464193"/>
              <a:gd name="connsiteX349" fmla="*/ 1343268 w 1715044"/>
              <a:gd name="connsiteY349" fmla="*/ 239928 h 464193"/>
              <a:gd name="connsiteX350" fmla="*/ 1302736 w 1715044"/>
              <a:gd name="connsiteY350" fmla="*/ 247928 h 464193"/>
              <a:gd name="connsiteX351" fmla="*/ 1234426 w 1715044"/>
              <a:gd name="connsiteY351" fmla="*/ 179618 h 464193"/>
              <a:gd name="connsiteX352" fmla="*/ 1295481 w 1715044"/>
              <a:gd name="connsiteY352" fmla="*/ 112815 h 464193"/>
              <a:gd name="connsiteX353" fmla="*/ 1351782 w 1715044"/>
              <a:gd name="connsiteY353" fmla="*/ 170110 h 464193"/>
              <a:gd name="connsiteX354" fmla="*/ 1350292 w 1715044"/>
              <a:gd name="connsiteY354" fmla="*/ 191396 h 464193"/>
              <a:gd name="connsiteX355" fmla="*/ 1261973 w 1715044"/>
              <a:gd name="connsiteY355" fmla="*/ 168390 h 464193"/>
              <a:gd name="connsiteX356" fmla="*/ 1324022 w 1715044"/>
              <a:gd name="connsiteY356" fmla="*/ 168390 h 464193"/>
              <a:gd name="connsiteX357" fmla="*/ 1293991 w 1715044"/>
              <a:gd name="connsiteY357" fmla="*/ 135858 h 464193"/>
              <a:gd name="connsiteX358" fmla="*/ 1261973 w 1715044"/>
              <a:gd name="connsiteY358" fmla="*/ 168390 h 464193"/>
              <a:gd name="connsiteX359" fmla="*/ 1446629 w 1715044"/>
              <a:gd name="connsiteY359" fmla="*/ 113844 h 464193"/>
              <a:gd name="connsiteX360" fmla="*/ 1444128 w 1715044"/>
              <a:gd name="connsiteY360" fmla="*/ 137365 h 464193"/>
              <a:gd name="connsiteX361" fmla="*/ 1423356 w 1715044"/>
              <a:gd name="connsiteY361" fmla="*/ 136372 h 464193"/>
              <a:gd name="connsiteX362" fmla="*/ 1403099 w 1715044"/>
              <a:gd name="connsiteY362" fmla="*/ 137880 h 464193"/>
              <a:gd name="connsiteX363" fmla="*/ 1403099 w 1715044"/>
              <a:gd name="connsiteY363" fmla="*/ 244966 h 464193"/>
              <a:gd name="connsiteX364" fmla="*/ 1375569 w 1715044"/>
              <a:gd name="connsiteY364" fmla="*/ 244966 h 464193"/>
              <a:gd name="connsiteX365" fmla="*/ 1375569 w 1715044"/>
              <a:gd name="connsiteY365" fmla="*/ 119840 h 464193"/>
              <a:gd name="connsiteX366" fmla="*/ 1422611 w 1715044"/>
              <a:gd name="connsiteY366" fmla="*/ 112833 h 464193"/>
              <a:gd name="connsiteX367" fmla="*/ 1446629 w 1715044"/>
              <a:gd name="connsiteY367" fmla="*/ 113844 h 46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1715044" h="464193">
                <a:moveTo>
                  <a:pt x="391413" y="400655"/>
                </a:moveTo>
                <a:lnTo>
                  <a:pt x="339050" y="400655"/>
                </a:lnTo>
                <a:lnTo>
                  <a:pt x="329223" y="429284"/>
                </a:lnTo>
                <a:lnTo>
                  <a:pt x="316682" y="429284"/>
                </a:lnTo>
                <a:lnTo>
                  <a:pt x="357515" y="312708"/>
                </a:lnTo>
                <a:cubicBezTo>
                  <a:pt x="361755" y="311697"/>
                  <a:pt x="367342" y="311183"/>
                  <a:pt x="372433" y="311183"/>
                </a:cubicBezTo>
                <a:lnTo>
                  <a:pt x="413781" y="429284"/>
                </a:lnTo>
                <a:lnTo>
                  <a:pt x="401240" y="429284"/>
                </a:lnTo>
                <a:lnTo>
                  <a:pt x="391413" y="400655"/>
                </a:lnTo>
                <a:close/>
                <a:moveTo>
                  <a:pt x="387688" y="389462"/>
                </a:moveTo>
                <a:lnTo>
                  <a:pt x="365320" y="323546"/>
                </a:lnTo>
                <a:lnTo>
                  <a:pt x="342793" y="389462"/>
                </a:lnTo>
                <a:lnTo>
                  <a:pt x="387688" y="389462"/>
                </a:lnTo>
                <a:close/>
                <a:moveTo>
                  <a:pt x="421231" y="424708"/>
                </a:moveTo>
                <a:cubicBezTo>
                  <a:pt x="421409" y="419972"/>
                  <a:pt x="422083" y="416743"/>
                  <a:pt x="422934" y="414366"/>
                </a:cubicBezTo>
                <a:cubicBezTo>
                  <a:pt x="430899" y="418943"/>
                  <a:pt x="441914" y="420983"/>
                  <a:pt x="450553" y="420983"/>
                </a:cubicBezTo>
                <a:cubicBezTo>
                  <a:pt x="463590" y="420983"/>
                  <a:pt x="471555" y="416921"/>
                  <a:pt x="471555" y="407253"/>
                </a:cubicBezTo>
                <a:cubicBezTo>
                  <a:pt x="471555" y="397089"/>
                  <a:pt x="462242" y="393524"/>
                  <a:pt x="454100" y="390987"/>
                </a:cubicBezTo>
                <a:lnTo>
                  <a:pt x="446313" y="388610"/>
                </a:lnTo>
                <a:cubicBezTo>
                  <a:pt x="431236" y="384034"/>
                  <a:pt x="422934" y="376406"/>
                  <a:pt x="422934" y="362854"/>
                </a:cubicBezTo>
                <a:cubicBezTo>
                  <a:pt x="422934" y="347777"/>
                  <a:pt x="434464" y="339812"/>
                  <a:pt x="453604" y="339812"/>
                </a:cubicBezTo>
                <a:cubicBezTo>
                  <a:pt x="463431" y="339812"/>
                  <a:pt x="472584" y="341160"/>
                  <a:pt x="480371" y="344211"/>
                </a:cubicBezTo>
                <a:cubicBezTo>
                  <a:pt x="480193" y="347103"/>
                  <a:pt x="479697" y="350828"/>
                  <a:pt x="478668" y="354216"/>
                </a:cubicBezTo>
                <a:cubicBezTo>
                  <a:pt x="470881" y="351324"/>
                  <a:pt x="462224" y="349976"/>
                  <a:pt x="453923" y="349976"/>
                </a:cubicBezTo>
                <a:cubicBezTo>
                  <a:pt x="440868" y="349976"/>
                  <a:pt x="434269" y="354216"/>
                  <a:pt x="434269" y="362517"/>
                </a:cubicBezTo>
                <a:cubicBezTo>
                  <a:pt x="434269" y="372007"/>
                  <a:pt x="440885" y="374881"/>
                  <a:pt x="451386" y="378446"/>
                </a:cubicBezTo>
                <a:lnTo>
                  <a:pt x="459351" y="381160"/>
                </a:lnTo>
                <a:cubicBezTo>
                  <a:pt x="472743" y="385737"/>
                  <a:pt x="483067" y="392176"/>
                  <a:pt x="483067" y="406916"/>
                </a:cubicBezTo>
                <a:cubicBezTo>
                  <a:pt x="483067" y="422331"/>
                  <a:pt x="471200" y="431306"/>
                  <a:pt x="450872" y="431306"/>
                </a:cubicBezTo>
                <a:cubicBezTo>
                  <a:pt x="439023" y="431324"/>
                  <a:pt x="429196" y="429284"/>
                  <a:pt x="421231" y="424708"/>
                </a:cubicBezTo>
                <a:close/>
                <a:moveTo>
                  <a:pt x="495271" y="424708"/>
                </a:moveTo>
                <a:cubicBezTo>
                  <a:pt x="495431" y="419972"/>
                  <a:pt x="496122" y="416743"/>
                  <a:pt x="496974" y="414366"/>
                </a:cubicBezTo>
                <a:cubicBezTo>
                  <a:pt x="504938" y="418943"/>
                  <a:pt x="515954" y="420983"/>
                  <a:pt x="524592" y="420983"/>
                </a:cubicBezTo>
                <a:cubicBezTo>
                  <a:pt x="537648" y="420983"/>
                  <a:pt x="545594" y="416921"/>
                  <a:pt x="545594" y="407253"/>
                </a:cubicBezTo>
                <a:cubicBezTo>
                  <a:pt x="545594" y="397089"/>
                  <a:pt x="536282" y="393524"/>
                  <a:pt x="528140" y="390987"/>
                </a:cubicBezTo>
                <a:lnTo>
                  <a:pt x="520353" y="388610"/>
                </a:lnTo>
                <a:cubicBezTo>
                  <a:pt x="505275" y="384034"/>
                  <a:pt x="496974" y="376406"/>
                  <a:pt x="496974" y="362854"/>
                </a:cubicBezTo>
                <a:cubicBezTo>
                  <a:pt x="496974" y="347777"/>
                  <a:pt x="508504" y="339812"/>
                  <a:pt x="527643" y="339812"/>
                </a:cubicBezTo>
                <a:cubicBezTo>
                  <a:pt x="537470" y="339812"/>
                  <a:pt x="546623" y="341160"/>
                  <a:pt x="554410" y="344211"/>
                </a:cubicBezTo>
                <a:cubicBezTo>
                  <a:pt x="554233" y="347103"/>
                  <a:pt x="553736" y="350828"/>
                  <a:pt x="552708" y="354216"/>
                </a:cubicBezTo>
                <a:cubicBezTo>
                  <a:pt x="544920" y="351324"/>
                  <a:pt x="536264" y="349976"/>
                  <a:pt x="527963" y="349976"/>
                </a:cubicBezTo>
                <a:cubicBezTo>
                  <a:pt x="514925" y="349976"/>
                  <a:pt x="508309" y="354216"/>
                  <a:pt x="508309" y="362517"/>
                </a:cubicBezTo>
                <a:cubicBezTo>
                  <a:pt x="508309" y="372007"/>
                  <a:pt x="514925" y="374881"/>
                  <a:pt x="525426" y="378446"/>
                </a:cubicBezTo>
                <a:lnTo>
                  <a:pt x="533391" y="381160"/>
                </a:lnTo>
                <a:cubicBezTo>
                  <a:pt x="546783" y="385737"/>
                  <a:pt x="557107" y="392176"/>
                  <a:pt x="557107" y="406916"/>
                </a:cubicBezTo>
                <a:cubicBezTo>
                  <a:pt x="557107" y="422331"/>
                  <a:pt x="545240" y="431306"/>
                  <a:pt x="524912" y="431306"/>
                </a:cubicBezTo>
                <a:cubicBezTo>
                  <a:pt x="513062" y="431324"/>
                  <a:pt x="503235" y="429284"/>
                  <a:pt x="495271" y="424708"/>
                </a:cubicBezTo>
                <a:close/>
                <a:moveTo>
                  <a:pt x="642854" y="389639"/>
                </a:moveTo>
                <a:lnTo>
                  <a:pt x="580166" y="389639"/>
                </a:lnTo>
                <a:cubicBezTo>
                  <a:pt x="581692" y="409967"/>
                  <a:pt x="592370" y="420823"/>
                  <a:pt x="611687" y="420823"/>
                </a:cubicBezTo>
                <a:cubicBezTo>
                  <a:pt x="620840" y="420823"/>
                  <a:pt x="631004" y="418783"/>
                  <a:pt x="640157" y="413533"/>
                </a:cubicBezTo>
                <a:cubicBezTo>
                  <a:pt x="639820" y="416584"/>
                  <a:pt x="639146" y="421160"/>
                  <a:pt x="638295" y="424885"/>
                </a:cubicBezTo>
                <a:cubicBezTo>
                  <a:pt x="629816" y="429799"/>
                  <a:pt x="621018" y="431324"/>
                  <a:pt x="611350" y="431324"/>
                </a:cubicBezTo>
                <a:cubicBezTo>
                  <a:pt x="583058" y="431324"/>
                  <a:pt x="568140" y="414207"/>
                  <a:pt x="568140" y="385063"/>
                </a:cubicBezTo>
                <a:cubicBezTo>
                  <a:pt x="568140" y="359821"/>
                  <a:pt x="579492" y="339830"/>
                  <a:pt x="607288" y="339830"/>
                </a:cubicBezTo>
                <a:cubicBezTo>
                  <a:pt x="632707" y="339830"/>
                  <a:pt x="643545" y="357284"/>
                  <a:pt x="643545" y="379138"/>
                </a:cubicBezTo>
                <a:cubicBezTo>
                  <a:pt x="643528" y="382686"/>
                  <a:pt x="643368" y="386251"/>
                  <a:pt x="642854" y="389639"/>
                </a:cubicBezTo>
                <a:close/>
                <a:moveTo>
                  <a:pt x="580166" y="378961"/>
                </a:moveTo>
                <a:lnTo>
                  <a:pt x="631678" y="378961"/>
                </a:lnTo>
                <a:lnTo>
                  <a:pt x="631678" y="378287"/>
                </a:lnTo>
                <a:cubicBezTo>
                  <a:pt x="631678" y="361506"/>
                  <a:pt x="623554" y="350154"/>
                  <a:pt x="606774" y="350154"/>
                </a:cubicBezTo>
                <a:cubicBezTo>
                  <a:pt x="589816" y="350154"/>
                  <a:pt x="581514" y="361347"/>
                  <a:pt x="580166" y="378961"/>
                </a:cubicBezTo>
                <a:close/>
                <a:moveTo>
                  <a:pt x="704193" y="418446"/>
                </a:moveTo>
                <a:cubicBezTo>
                  <a:pt x="703856" y="421674"/>
                  <a:pt x="703341" y="425400"/>
                  <a:pt x="702667" y="428610"/>
                </a:cubicBezTo>
                <a:cubicBezTo>
                  <a:pt x="697576" y="430473"/>
                  <a:pt x="692663" y="431324"/>
                  <a:pt x="687412" y="431324"/>
                </a:cubicBezTo>
                <a:cubicBezTo>
                  <a:pt x="671146" y="431324"/>
                  <a:pt x="661142" y="423200"/>
                  <a:pt x="661142" y="404220"/>
                </a:cubicBezTo>
                <a:lnTo>
                  <a:pt x="661142" y="312903"/>
                </a:lnTo>
                <a:cubicBezTo>
                  <a:pt x="664707" y="311715"/>
                  <a:pt x="669443" y="311041"/>
                  <a:pt x="673009" y="311041"/>
                </a:cubicBezTo>
                <a:lnTo>
                  <a:pt x="673009" y="342384"/>
                </a:lnTo>
                <a:lnTo>
                  <a:pt x="703678" y="342384"/>
                </a:lnTo>
                <a:cubicBezTo>
                  <a:pt x="703501" y="346446"/>
                  <a:pt x="703164" y="349834"/>
                  <a:pt x="702490" y="353063"/>
                </a:cubicBezTo>
                <a:lnTo>
                  <a:pt x="673009" y="353063"/>
                </a:lnTo>
                <a:lnTo>
                  <a:pt x="673009" y="402872"/>
                </a:lnTo>
                <a:cubicBezTo>
                  <a:pt x="673009" y="415750"/>
                  <a:pt x="678933" y="421178"/>
                  <a:pt x="689452" y="421178"/>
                </a:cubicBezTo>
                <a:cubicBezTo>
                  <a:pt x="694188" y="421160"/>
                  <a:pt x="699616" y="420131"/>
                  <a:pt x="704193" y="418446"/>
                </a:cubicBezTo>
                <a:close/>
                <a:moveTo>
                  <a:pt x="870241" y="429284"/>
                </a:moveTo>
                <a:lnTo>
                  <a:pt x="857877" y="429284"/>
                </a:lnTo>
                <a:lnTo>
                  <a:pt x="854312" y="376247"/>
                </a:lnTo>
                <a:cubicBezTo>
                  <a:pt x="853301" y="359981"/>
                  <a:pt x="852449" y="344229"/>
                  <a:pt x="851935" y="328797"/>
                </a:cubicBezTo>
                <a:cubicBezTo>
                  <a:pt x="845673" y="346074"/>
                  <a:pt x="838720" y="364202"/>
                  <a:pt x="832103" y="380468"/>
                </a:cubicBezTo>
                <a:lnTo>
                  <a:pt x="812449" y="429266"/>
                </a:lnTo>
                <a:lnTo>
                  <a:pt x="803474" y="429266"/>
                </a:lnTo>
                <a:lnTo>
                  <a:pt x="782472" y="375892"/>
                </a:lnTo>
                <a:cubicBezTo>
                  <a:pt x="775855" y="359626"/>
                  <a:pt x="769771" y="343697"/>
                  <a:pt x="764858" y="328956"/>
                </a:cubicBezTo>
                <a:cubicBezTo>
                  <a:pt x="764183" y="343697"/>
                  <a:pt x="762995" y="361666"/>
                  <a:pt x="761984" y="377240"/>
                </a:cubicBezTo>
                <a:lnTo>
                  <a:pt x="757922" y="429249"/>
                </a:lnTo>
                <a:lnTo>
                  <a:pt x="745718" y="429249"/>
                </a:lnTo>
                <a:lnTo>
                  <a:pt x="754871" y="312673"/>
                </a:lnTo>
                <a:cubicBezTo>
                  <a:pt x="758773" y="311484"/>
                  <a:pt x="765709" y="310810"/>
                  <a:pt x="769434" y="310810"/>
                </a:cubicBezTo>
                <a:lnTo>
                  <a:pt x="808228" y="410606"/>
                </a:lnTo>
                <a:lnTo>
                  <a:pt x="846525" y="312673"/>
                </a:lnTo>
                <a:cubicBezTo>
                  <a:pt x="850924" y="311147"/>
                  <a:pt x="857363" y="310810"/>
                  <a:pt x="861443" y="310810"/>
                </a:cubicBezTo>
                <a:lnTo>
                  <a:pt x="870241" y="429284"/>
                </a:lnTo>
                <a:close/>
                <a:moveTo>
                  <a:pt x="960369" y="344566"/>
                </a:moveTo>
                <a:lnTo>
                  <a:pt x="960369" y="429284"/>
                </a:lnTo>
                <a:lnTo>
                  <a:pt x="949354" y="429284"/>
                </a:lnTo>
                <a:lnTo>
                  <a:pt x="949016" y="422686"/>
                </a:lnTo>
                <a:cubicBezTo>
                  <a:pt x="943252" y="427776"/>
                  <a:pt x="935464" y="431324"/>
                  <a:pt x="925974" y="431324"/>
                </a:cubicBezTo>
                <a:cubicBezTo>
                  <a:pt x="901921" y="431324"/>
                  <a:pt x="887003" y="415235"/>
                  <a:pt x="887003" y="386251"/>
                </a:cubicBezTo>
                <a:cubicBezTo>
                  <a:pt x="887003" y="356433"/>
                  <a:pt x="901744" y="339830"/>
                  <a:pt x="932076" y="339830"/>
                </a:cubicBezTo>
                <a:cubicBezTo>
                  <a:pt x="942577" y="339830"/>
                  <a:pt x="951393" y="341178"/>
                  <a:pt x="960369" y="344566"/>
                </a:cubicBezTo>
                <a:close/>
                <a:moveTo>
                  <a:pt x="927003" y="421497"/>
                </a:moveTo>
                <a:cubicBezTo>
                  <a:pt x="935819" y="421497"/>
                  <a:pt x="942932" y="418269"/>
                  <a:pt x="948520" y="412859"/>
                </a:cubicBezTo>
                <a:lnTo>
                  <a:pt x="948520" y="352371"/>
                </a:lnTo>
                <a:cubicBezTo>
                  <a:pt x="943429" y="351023"/>
                  <a:pt x="938178" y="350331"/>
                  <a:pt x="932076" y="350331"/>
                </a:cubicBezTo>
                <a:cubicBezTo>
                  <a:pt x="909371" y="350331"/>
                  <a:pt x="899030" y="363546"/>
                  <a:pt x="899030" y="386251"/>
                </a:cubicBezTo>
                <a:cubicBezTo>
                  <a:pt x="899048" y="408105"/>
                  <a:pt x="908520" y="421497"/>
                  <a:pt x="927003" y="421497"/>
                </a:cubicBezTo>
                <a:close/>
                <a:moveTo>
                  <a:pt x="1053566" y="372007"/>
                </a:moveTo>
                <a:lnTo>
                  <a:pt x="1053566" y="429284"/>
                </a:lnTo>
                <a:lnTo>
                  <a:pt x="1041699" y="429284"/>
                </a:lnTo>
                <a:lnTo>
                  <a:pt x="1041699" y="374225"/>
                </a:lnTo>
                <a:cubicBezTo>
                  <a:pt x="1041699" y="358473"/>
                  <a:pt x="1035774" y="350331"/>
                  <a:pt x="1014932" y="350331"/>
                </a:cubicBezTo>
                <a:cubicBezTo>
                  <a:pt x="1008830" y="350331"/>
                  <a:pt x="1001717" y="351183"/>
                  <a:pt x="995278" y="352708"/>
                </a:cubicBezTo>
                <a:lnTo>
                  <a:pt x="995278" y="429284"/>
                </a:lnTo>
                <a:lnTo>
                  <a:pt x="983411" y="429284"/>
                </a:lnTo>
                <a:lnTo>
                  <a:pt x="983411" y="344566"/>
                </a:lnTo>
                <a:cubicBezTo>
                  <a:pt x="994764" y="341515"/>
                  <a:pt x="1005779" y="339830"/>
                  <a:pt x="1015269" y="339830"/>
                </a:cubicBezTo>
                <a:cubicBezTo>
                  <a:pt x="1043916" y="339830"/>
                  <a:pt x="1053566" y="351520"/>
                  <a:pt x="1053566" y="372007"/>
                </a:cubicBezTo>
                <a:close/>
                <a:moveTo>
                  <a:pt x="1144386" y="344566"/>
                </a:moveTo>
                <a:lnTo>
                  <a:pt x="1144386" y="429284"/>
                </a:lnTo>
                <a:lnTo>
                  <a:pt x="1133371" y="429284"/>
                </a:lnTo>
                <a:lnTo>
                  <a:pt x="1133034" y="422686"/>
                </a:lnTo>
                <a:cubicBezTo>
                  <a:pt x="1127269" y="427776"/>
                  <a:pt x="1119481" y="431324"/>
                  <a:pt x="1109992" y="431324"/>
                </a:cubicBezTo>
                <a:cubicBezTo>
                  <a:pt x="1085938" y="431324"/>
                  <a:pt x="1071020" y="415235"/>
                  <a:pt x="1071020" y="386251"/>
                </a:cubicBezTo>
                <a:cubicBezTo>
                  <a:pt x="1071020" y="356433"/>
                  <a:pt x="1085761" y="339830"/>
                  <a:pt x="1116094" y="339830"/>
                </a:cubicBezTo>
                <a:cubicBezTo>
                  <a:pt x="1126595" y="339830"/>
                  <a:pt x="1135411" y="341178"/>
                  <a:pt x="1144386" y="344566"/>
                </a:cubicBezTo>
                <a:close/>
                <a:moveTo>
                  <a:pt x="1111003" y="421497"/>
                </a:moveTo>
                <a:cubicBezTo>
                  <a:pt x="1119819" y="421497"/>
                  <a:pt x="1126932" y="418269"/>
                  <a:pt x="1132519" y="412859"/>
                </a:cubicBezTo>
                <a:lnTo>
                  <a:pt x="1132519" y="352371"/>
                </a:lnTo>
                <a:cubicBezTo>
                  <a:pt x="1127428" y="351023"/>
                  <a:pt x="1122178" y="350331"/>
                  <a:pt x="1116094" y="350331"/>
                </a:cubicBezTo>
                <a:cubicBezTo>
                  <a:pt x="1093389" y="350331"/>
                  <a:pt x="1083047" y="363546"/>
                  <a:pt x="1083047" y="386251"/>
                </a:cubicBezTo>
                <a:cubicBezTo>
                  <a:pt x="1083047" y="408105"/>
                  <a:pt x="1092537" y="421497"/>
                  <a:pt x="1111003" y="421497"/>
                </a:cubicBezTo>
                <a:close/>
                <a:moveTo>
                  <a:pt x="1236217" y="344566"/>
                </a:moveTo>
                <a:lnTo>
                  <a:pt x="1236217" y="426074"/>
                </a:lnTo>
                <a:cubicBezTo>
                  <a:pt x="1236217" y="449630"/>
                  <a:pt x="1223854" y="464193"/>
                  <a:pt x="1195561" y="464193"/>
                </a:cubicBezTo>
                <a:cubicBezTo>
                  <a:pt x="1186923" y="464193"/>
                  <a:pt x="1178107" y="462668"/>
                  <a:pt x="1170142" y="459280"/>
                </a:cubicBezTo>
                <a:cubicBezTo>
                  <a:pt x="1170142" y="456388"/>
                  <a:pt x="1170657" y="451830"/>
                  <a:pt x="1171331" y="448779"/>
                </a:cubicBezTo>
                <a:cubicBezTo>
                  <a:pt x="1179118" y="452504"/>
                  <a:pt x="1188608" y="454029"/>
                  <a:pt x="1195561" y="454029"/>
                </a:cubicBezTo>
                <a:cubicBezTo>
                  <a:pt x="1213867" y="454029"/>
                  <a:pt x="1224368" y="446579"/>
                  <a:pt x="1224368" y="427599"/>
                </a:cubicBezTo>
                <a:lnTo>
                  <a:pt x="1224368" y="423023"/>
                </a:lnTo>
                <a:cubicBezTo>
                  <a:pt x="1218781" y="427936"/>
                  <a:pt x="1211153" y="431324"/>
                  <a:pt x="1201840" y="431324"/>
                </a:cubicBezTo>
                <a:cubicBezTo>
                  <a:pt x="1177787" y="431324"/>
                  <a:pt x="1162869" y="415235"/>
                  <a:pt x="1162869" y="386251"/>
                </a:cubicBezTo>
                <a:cubicBezTo>
                  <a:pt x="1162869" y="356433"/>
                  <a:pt x="1177610" y="339830"/>
                  <a:pt x="1207942" y="339830"/>
                </a:cubicBezTo>
                <a:cubicBezTo>
                  <a:pt x="1218426" y="339830"/>
                  <a:pt x="1227242" y="341178"/>
                  <a:pt x="1236217" y="344566"/>
                </a:cubicBezTo>
                <a:close/>
                <a:moveTo>
                  <a:pt x="1224350" y="412841"/>
                </a:moveTo>
                <a:lnTo>
                  <a:pt x="1224350" y="352353"/>
                </a:lnTo>
                <a:cubicBezTo>
                  <a:pt x="1219259" y="351005"/>
                  <a:pt x="1214009" y="350313"/>
                  <a:pt x="1207907" y="350313"/>
                </a:cubicBezTo>
                <a:cubicBezTo>
                  <a:pt x="1185202" y="350313"/>
                  <a:pt x="1174860" y="363528"/>
                  <a:pt x="1174860" y="386233"/>
                </a:cubicBezTo>
                <a:cubicBezTo>
                  <a:pt x="1174860" y="408087"/>
                  <a:pt x="1184350" y="421479"/>
                  <a:pt x="1202816" y="421479"/>
                </a:cubicBezTo>
                <a:cubicBezTo>
                  <a:pt x="1211650" y="421497"/>
                  <a:pt x="1218763" y="418269"/>
                  <a:pt x="1224350" y="412841"/>
                </a:cubicBezTo>
                <a:close/>
                <a:moveTo>
                  <a:pt x="1325352" y="389639"/>
                </a:moveTo>
                <a:lnTo>
                  <a:pt x="1262665" y="389639"/>
                </a:lnTo>
                <a:cubicBezTo>
                  <a:pt x="1264191" y="409967"/>
                  <a:pt x="1274869" y="420823"/>
                  <a:pt x="1294186" y="420823"/>
                </a:cubicBezTo>
                <a:cubicBezTo>
                  <a:pt x="1303339" y="420823"/>
                  <a:pt x="1313503" y="418783"/>
                  <a:pt x="1322656" y="413533"/>
                </a:cubicBezTo>
                <a:cubicBezTo>
                  <a:pt x="1322319" y="416584"/>
                  <a:pt x="1321645" y="421160"/>
                  <a:pt x="1320793" y="424885"/>
                </a:cubicBezTo>
                <a:cubicBezTo>
                  <a:pt x="1312315" y="429799"/>
                  <a:pt x="1303516" y="431324"/>
                  <a:pt x="1293849" y="431324"/>
                </a:cubicBezTo>
                <a:cubicBezTo>
                  <a:pt x="1265556" y="431324"/>
                  <a:pt x="1250638" y="414207"/>
                  <a:pt x="1250638" y="385063"/>
                </a:cubicBezTo>
                <a:cubicBezTo>
                  <a:pt x="1250638" y="359821"/>
                  <a:pt x="1261991" y="339830"/>
                  <a:pt x="1289769" y="339830"/>
                </a:cubicBezTo>
                <a:cubicBezTo>
                  <a:pt x="1315188" y="339830"/>
                  <a:pt x="1326026" y="357284"/>
                  <a:pt x="1326026" y="379138"/>
                </a:cubicBezTo>
                <a:cubicBezTo>
                  <a:pt x="1326026" y="382686"/>
                  <a:pt x="1325849" y="386251"/>
                  <a:pt x="1325352" y="389639"/>
                </a:cubicBezTo>
                <a:close/>
                <a:moveTo>
                  <a:pt x="1262647" y="378961"/>
                </a:moveTo>
                <a:lnTo>
                  <a:pt x="1314159" y="378961"/>
                </a:lnTo>
                <a:lnTo>
                  <a:pt x="1314159" y="378287"/>
                </a:lnTo>
                <a:cubicBezTo>
                  <a:pt x="1314159" y="361506"/>
                  <a:pt x="1306017" y="350154"/>
                  <a:pt x="1289255" y="350154"/>
                </a:cubicBezTo>
                <a:cubicBezTo>
                  <a:pt x="1272315" y="350154"/>
                  <a:pt x="1264013" y="361347"/>
                  <a:pt x="1262647" y="378961"/>
                </a:cubicBezTo>
                <a:close/>
                <a:moveTo>
                  <a:pt x="1470043" y="372007"/>
                </a:moveTo>
                <a:lnTo>
                  <a:pt x="1470043" y="429284"/>
                </a:lnTo>
                <a:lnTo>
                  <a:pt x="1458176" y="429284"/>
                </a:lnTo>
                <a:lnTo>
                  <a:pt x="1458176" y="373888"/>
                </a:lnTo>
                <a:cubicBezTo>
                  <a:pt x="1458176" y="358473"/>
                  <a:pt x="1450726" y="350331"/>
                  <a:pt x="1433272" y="350331"/>
                </a:cubicBezTo>
                <a:cubicBezTo>
                  <a:pt x="1425485" y="350331"/>
                  <a:pt x="1417857" y="352194"/>
                  <a:pt x="1410744" y="355245"/>
                </a:cubicBezTo>
                <a:cubicBezTo>
                  <a:pt x="1412607" y="359644"/>
                  <a:pt x="1413618" y="365249"/>
                  <a:pt x="1413618" y="372025"/>
                </a:cubicBezTo>
                <a:lnTo>
                  <a:pt x="1413618" y="429302"/>
                </a:lnTo>
                <a:lnTo>
                  <a:pt x="1401751" y="429302"/>
                </a:lnTo>
                <a:lnTo>
                  <a:pt x="1401751" y="373550"/>
                </a:lnTo>
                <a:cubicBezTo>
                  <a:pt x="1401751" y="357107"/>
                  <a:pt x="1394975" y="350331"/>
                  <a:pt x="1376846" y="350331"/>
                </a:cubicBezTo>
                <a:cubicBezTo>
                  <a:pt x="1370407" y="350331"/>
                  <a:pt x="1363117" y="351183"/>
                  <a:pt x="1356518" y="352708"/>
                </a:cubicBezTo>
                <a:lnTo>
                  <a:pt x="1356518" y="429284"/>
                </a:lnTo>
                <a:lnTo>
                  <a:pt x="1344651" y="429284"/>
                </a:lnTo>
                <a:lnTo>
                  <a:pt x="1344651" y="344566"/>
                </a:lnTo>
                <a:cubicBezTo>
                  <a:pt x="1356004" y="341515"/>
                  <a:pt x="1367197" y="339830"/>
                  <a:pt x="1378035" y="339830"/>
                </a:cubicBezTo>
                <a:cubicBezTo>
                  <a:pt x="1389902" y="339830"/>
                  <a:pt x="1398700" y="342030"/>
                  <a:pt x="1404642" y="346943"/>
                </a:cubicBezTo>
                <a:cubicBezTo>
                  <a:pt x="1413955" y="342544"/>
                  <a:pt x="1423959" y="339830"/>
                  <a:pt x="1434301" y="339830"/>
                </a:cubicBezTo>
                <a:cubicBezTo>
                  <a:pt x="1459879" y="339830"/>
                  <a:pt x="1470043" y="351520"/>
                  <a:pt x="1470043" y="372007"/>
                </a:cubicBezTo>
                <a:close/>
                <a:moveTo>
                  <a:pt x="1561538" y="389639"/>
                </a:moveTo>
                <a:lnTo>
                  <a:pt x="1498850" y="389639"/>
                </a:lnTo>
                <a:cubicBezTo>
                  <a:pt x="1500376" y="409967"/>
                  <a:pt x="1511054" y="420823"/>
                  <a:pt x="1530371" y="420823"/>
                </a:cubicBezTo>
                <a:cubicBezTo>
                  <a:pt x="1539524" y="420823"/>
                  <a:pt x="1549688" y="418783"/>
                  <a:pt x="1558841" y="413533"/>
                </a:cubicBezTo>
                <a:cubicBezTo>
                  <a:pt x="1558504" y="416584"/>
                  <a:pt x="1557830" y="421160"/>
                  <a:pt x="1556979" y="424885"/>
                </a:cubicBezTo>
                <a:cubicBezTo>
                  <a:pt x="1548500" y="429799"/>
                  <a:pt x="1539702" y="431324"/>
                  <a:pt x="1530034" y="431324"/>
                </a:cubicBezTo>
                <a:cubicBezTo>
                  <a:pt x="1501742" y="431324"/>
                  <a:pt x="1486824" y="414207"/>
                  <a:pt x="1486824" y="385063"/>
                </a:cubicBezTo>
                <a:cubicBezTo>
                  <a:pt x="1486824" y="359821"/>
                  <a:pt x="1498176" y="339830"/>
                  <a:pt x="1525972" y="339830"/>
                </a:cubicBezTo>
                <a:cubicBezTo>
                  <a:pt x="1551391" y="339830"/>
                  <a:pt x="1562229" y="357284"/>
                  <a:pt x="1562229" y="379138"/>
                </a:cubicBezTo>
                <a:cubicBezTo>
                  <a:pt x="1562212" y="382686"/>
                  <a:pt x="1562052" y="386251"/>
                  <a:pt x="1561538" y="389639"/>
                </a:cubicBezTo>
                <a:close/>
                <a:moveTo>
                  <a:pt x="1498850" y="378961"/>
                </a:moveTo>
                <a:lnTo>
                  <a:pt x="1550362" y="378961"/>
                </a:lnTo>
                <a:lnTo>
                  <a:pt x="1550362" y="378287"/>
                </a:lnTo>
                <a:cubicBezTo>
                  <a:pt x="1550362" y="361506"/>
                  <a:pt x="1542238" y="350154"/>
                  <a:pt x="1525458" y="350154"/>
                </a:cubicBezTo>
                <a:cubicBezTo>
                  <a:pt x="1508500" y="350154"/>
                  <a:pt x="1500198" y="361347"/>
                  <a:pt x="1498850" y="378961"/>
                </a:cubicBezTo>
                <a:close/>
                <a:moveTo>
                  <a:pt x="1650992" y="372007"/>
                </a:moveTo>
                <a:lnTo>
                  <a:pt x="1650992" y="429284"/>
                </a:lnTo>
                <a:lnTo>
                  <a:pt x="1639125" y="429284"/>
                </a:lnTo>
                <a:lnTo>
                  <a:pt x="1639125" y="374225"/>
                </a:lnTo>
                <a:cubicBezTo>
                  <a:pt x="1639125" y="358473"/>
                  <a:pt x="1633200" y="350331"/>
                  <a:pt x="1612358" y="350331"/>
                </a:cubicBezTo>
                <a:cubicBezTo>
                  <a:pt x="1606256" y="350331"/>
                  <a:pt x="1599143" y="351183"/>
                  <a:pt x="1592704" y="352708"/>
                </a:cubicBezTo>
                <a:lnTo>
                  <a:pt x="1592704" y="429284"/>
                </a:lnTo>
                <a:lnTo>
                  <a:pt x="1580837" y="429284"/>
                </a:lnTo>
                <a:lnTo>
                  <a:pt x="1580837" y="344566"/>
                </a:lnTo>
                <a:cubicBezTo>
                  <a:pt x="1592189" y="341515"/>
                  <a:pt x="1603205" y="339830"/>
                  <a:pt x="1612695" y="339830"/>
                </a:cubicBezTo>
                <a:cubicBezTo>
                  <a:pt x="1641342" y="339830"/>
                  <a:pt x="1650992" y="351520"/>
                  <a:pt x="1650992" y="372007"/>
                </a:cubicBezTo>
                <a:close/>
                <a:moveTo>
                  <a:pt x="1715045" y="418446"/>
                </a:moveTo>
                <a:cubicBezTo>
                  <a:pt x="1714708" y="421674"/>
                  <a:pt x="1714193" y="425400"/>
                  <a:pt x="1713519" y="428610"/>
                </a:cubicBezTo>
                <a:cubicBezTo>
                  <a:pt x="1708428" y="430473"/>
                  <a:pt x="1703515" y="431324"/>
                  <a:pt x="1698264" y="431324"/>
                </a:cubicBezTo>
                <a:cubicBezTo>
                  <a:pt x="1681998" y="431324"/>
                  <a:pt x="1671994" y="423200"/>
                  <a:pt x="1671994" y="404220"/>
                </a:cubicBezTo>
                <a:lnTo>
                  <a:pt x="1671994" y="312903"/>
                </a:lnTo>
                <a:cubicBezTo>
                  <a:pt x="1675559" y="311715"/>
                  <a:pt x="1680295" y="311041"/>
                  <a:pt x="1683861" y="311041"/>
                </a:cubicBezTo>
                <a:lnTo>
                  <a:pt x="1683861" y="342384"/>
                </a:lnTo>
                <a:lnTo>
                  <a:pt x="1714530" y="342384"/>
                </a:lnTo>
                <a:cubicBezTo>
                  <a:pt x="1714353" y="346446"/>
                  <a:pt x="1714016" y="349834"/>
                  <a:pt x="1713342" y="353063"/>
                </a:cubicBezTo>
                <a:lnTo>
                  <a:pt x="1683861" y="353063"/>
                </a:lnTo>
                <a:lnTo>
                  <a:pt x="1683861" y="402872"/>
                </a:lnTo>
                <a:cubicBezTo>
                  <a:pt x="1683861" y="415750"/>
                  <a:pt x="1689785" y="421178"/>
                  <a:pt x="1700304" y="421178"/>
                </a:cubicBezTo>
                <a:cubicBezTo>
                  <a:pt x="1705058" y="421160"/>
                  <a:pt x="1710468" y="420131"/>
                  <a:pt x="1715045" y="418446"/>
                </a:cubicBezTo>
                <a:close/>
                <a:moveTo>
                  <a:pt x="190935" y="116097"/>
                </a:moveTo>
                <a:cubicBezTo>
                  <a:pt x="190545" y="106962"/>
                  <a:pt x="187990" y="97898"/>
                  <a:pt x="183254" y="89720"/>
                </a:cubicBezTo>
                <a:lnTo>
                  <a:pt x="141534" y="17472"/>
                </a:lnTo>
                <a:cubicBezTo>
                  <a:pt x="138359" y="11956"/>
                  <a:pt x="136159" y="6049"/>
                  <a:pt x="134935" y="0"/>
                </a:cubicBezTo>
                <a:lnTo>
                  <a:pt x="133197" y="3016"/>
                </a:lnTo>
                <a:cubicBezTo>
                  <a:pt x="122873" y="20896"/>
                  <a:pt x="122873" y="42927"/>
                  <a:pt x="133197" y="60807"/>
                </a:cubicBezTo>
                <a:lnTo>
                  <a:pt x="166563" y="118598"/>
                </a:lnTo>
                <a:cubicBezTo>
                  <a:pt x="176886" y="136478"/>
                  <a:pt x="176886" y="158509"/>
                  <a:pt x="166563" y="176389"/>
                </a:cubicBezTo>
                <a:lnTo>
                  <a:pt x="164824" y="179405"/>
                </a:lnTo>
                <a:cubicBezTo>
                  <a:pt x="163600" y="173356"/>
                  <a:pt x="161401" y="167449"/>
                  <a:pt x="158226" y="161933"/>
                </a:cubicBezTo>
                <a:lnTo>
                  <a:pt x="127680" y="109037"/>
                </a:lnTo>
                <a:lnTo>
                  <a:pt x="108168" y="75264"/>
                </a:lnTo>
                <a:cubicBezTo>
                  <a:pt x="104993" y="69747"/>
                  <a:pt x="102793" y="63858"/>
                  <a:pt x="101569" y="57791"/>
                </a:cubicBezTo>
                <a:lnTo>
                  <a:pt x="99831" y="60807"/>
                </a:lnTo>
                <a:cubicBezTo>
                  <a:pt x="89543" y="78634"/>
                  <a:pt x="89507" y="100576"/>
                  <a:pt x="99725" y="118421"/>
                </a:cubicBezTo>
                <a:lnTo>
                  <a:pt x="99725" y="118421"/>
                </a:lnTo>
                <a:lnTo>
                  <a:pt x="133197" y="176389"/>
                </a:lnTo>
                <a:cubicBezTo>
                  <a:pt x="143521" y="194270"/>
                  <a:pt x="143521" y="216301"/>
                  <a:pt x="133197" y="234181"/>
                </a:cubicBezTo>
                <a:lnTo>
                  <a:pt x="131459" y="237196"/>
                </a:lnTo>
                <a:cubicBezTo>
                  <a:pt x="130235" y="231148"/>
                  <a:pt x="128035" y="225241"/>
                  <a:pt x="124860" y="219724"/>
                </a:cubicBezTo>
                <a:lnTo>
                  <a:pt x="83157" y="147494"/>
                </a:lnTo>
                <a:cubicBezTo>
                  <a:pt x="77570" y="137809"/>
                  <a:pt x="75015" y="126900"/>
                  <a:pt x="75476" y="116097"/>
                </a:cubicBezTo>
                <a:cubicBezTo>
                  <a:pt x="30811" y="127769"/>
                  <a:pt x="0" y="152531"/>
                  <a:pt x="0" y="181214"/>
                </a:cubicBezTo>
                <a:cubicBezTo>
                  <a:pt x="0" y="221108"/>
                  <a:pt x="59636" y="253462"/>
                  <a:pt x="133197" y="253462"/>
                </a:cubicBezTo>
                <a:cubicBezTo>
                  <a:pt x="206758" y="253462"/>
                  <a:pt x="266394" y="221125"/>
                  <a:pt x="266394" y="181214"/>
                </a:cubicBezTo>
                <a:cubicBezTo>
                  <a:pt x="266394" y="152531"/>
                  <a:pt x="235582" y="127751"/>
                  <a:pt x="190935" y="116097"/>
                </a:cubicBezTo>
                <a:close/>
                <a:moveTo>
                  <a:pt x="316682" y="239449"/>
                </a:moveTo>
                <a:cubicBezTo>
                  <a:pt x="317178" y="229196"/>
                  <a:pt x="318686" y="222190"/>
                  <a:pt x="321436" y="214172"/>
                </a:cubicBezTo>
                <a:cubicBezTo>
                  <a:pt x="335449" y="220682"/>
                  <a:pt x="353453" y="223928"/>
                  <a:pt x="367218" y="223928"/>
                </a:cubicBezTo>
                <a:cubicBezTo>
                  <a:pt x="390491" y="223928"/>
                  <a:pt x="403493" y="216425"/>
                  <a:pt x="403493" y="201667"/>
                </a:cubicBezTo>
                <a:cubicBezTo>
                  <a:pt x="403493" y="187157"/>
                  <a:pt x="393985" y="180398"/>
                  <a:pt x="370464" y="170146"/>
                </a:cubicBezTo>
                <a:lnTo>
                  <a:pt x="357710" y="164647"/>
                </a:lnTo>
                <a:cubicBezTo>
                  <a:pt x="334189" y="154394"/>
                  <a:pt x="318172" y="141126"/>
                  <a:pt x="318172" y="114607"/>
                </a:cubicBezTo>
                <a:cubicBezTo>
                  <a:pt x="318172" y="86084"/>
                  <a:pt x="337932" y="67813"/>
                  <a:pt x="378464" y="67813"/>
                </a:cubicBezTo>
                <a:cubicBezTo>
                  <a:pt x="394730" y="67813"/>
                  <a:pt x="409985" y="70066"/>
                  <a:pt x="424247" y="75068"/>
                </a:cubicBezTo>
                <a:cubicBezTo>
                  <a:pt x="423502" y="85073"/>
                  <a:pt x="421746" y="92824"/>
                  <a:pt x="419245" y="100097"/>
                </a:cubicBezTo>
                <a:cubicBezTo>
                  <a:pt x="405728" y="95095"/>
                  <a:pt x="389728" y="92842"/>
                  <a:pt x="378216" y="92842"/>
                </a:cubicBezTo>
                <a:cubicBezTo>
                  <a:pt x="356451" y="92842"/>
                  <a:pt x="346447" y="101357"/>
                  <a:pt x="346447" y="114607"/>
                </a:cubicBezTo>
                <a:cubicBezTo>
                  <a:pt x="346447" y="127627"/>
                  <a:pt x="356203" y="135130"/>
                  <a:pt x="373710" y="142634"/>
                </a:cubicBezTo>
                <a:lnTo>
                  <a:pt x="387227" y="148381"/>
                </a:lnTo>
                <a:cubicBezTo>
                  <a:pt x="418996" y="161897"/>
                  <a:pt x="432264" y="176159"/>
                  <a:pt x="432264" y="200425"/>
                </a:cubicBezTo>
                <a:cubicBezTo>
                  <a:pt x="432264" y="229196"/>
                  <a:pt x="410500" y="248957"/>
                  <a:pt x="367963" y="248957"/>
                </a:cubicBezTo>
                <a:cubicBezTo>
                  <a:pt x="347458" y="248957"/>
                  <a:pt x="330695" y="245941"/>
                  <a:pt x="316682" y="239449"/>
                </a:cubicBezTo>
                <a:close/>
                <a:moveTo>
                  <a:pt x="566632" y="119840"/>
                </a:moveTo>
                <a:lnTo>
                  <a:pt x="566632" y="244948"/>
                </a:lnTo>
                <a:lnTo>
                  <a:pt x="541373" y="244948"/>
                </a:lnTo>
                <a:lnTo>
                  <a:pt x="539865" y="229941"/>
                </a:lnTo>
                <a:cubicBezTo>
                  <a:pt x="532858" y="240957"/>
                  <a:pt x="522109" y="247946"/>
                  <a:pt x="504584" y="247946"/>
                </a:cubicBezTo>
                <a:cubicBezTo>
                  <a:pt x="471555" y="247946"/>
                  <a:pt x="449542" y="223928"/>
                  <a:pt x="449542" y="181888"/>
                </a:cubicBezTo>
                <a:cubicBezTo>
                  <a:pt x="449542" y="137844"/>
                  <a:pt x="473063" y="112833"/>
                  <a:pt x="519342" y="112833"/>
                </a:cubicBezTo>
                <a:cubicBezTo>
                  <a:pt x="537364" y="112833"/>
                  <a:pt x="552122" y="114838"/>
                  <a:pt x="566632" y="119840"/>
                </a:cubicBezTo>
                <a:close/>
                <a:moveTo>
                  <a:pt x="539120" y="216425"/>
                </a:moveTo>
                <a:lnTo>
                  <a:pt x="539120" y="137862"/>
                </a:lnTo>
                <a:cubicBezTo>
                  <a:pt x="533373" y="136869"/>
                  <a:pt x="527111" y="136354"/>
                  <a:pt x="519360" y="136354"/>
                </a:cubicBezTo>
                <a:cubicBezTo>
                  <a:pt x="490836" y="136354"/>
                  <a:pt x="477568" y="153862"/>
                  <a:pt x="477568" y="181888"/>
                </a:cubicBezTo>
                <a:cubicBezTo>
                  <a:pt x="477568" y="207414"/>
                  <a:pt x="487821" y="225418"/>
                  <a:pt x="512353" y="225418"/>
                </a:cubicBezTo>
                <a:cubicBezTo>
                  <a:pt x="523102" y="225436"/>
                  <a:pt x="531865" y="221924"/>
                  <a:pt x="539120" y="216425"/>
                </a:cubicBezTo>
                <a:close/>
                <a:moveTo>
                  <a:pt x="707510" y="160886"/>
                </a:moveTo>
                <a:lnTo>
                  <a:pt x="707510" y="244948"/>
                </a:lnTo>
                <a:lnTo>
                  <a:pt x="679980" y="244948"/>
                </a:lnTo>
                <a:lnTo>
                  <a:pt x="679980" y="165640"/>
                </a:lnTo>
                <a:cubicBezTo>
                  <a:pt x="679980" y="145880"/>
                  <a:pt x="673470" y="136372"/>
                  <a:pt x="645958" y="136372"/>
                </a:cubicBezTo>
                <a:cubicBezTo>
                  <a:pt x="639448" y="136372"/>
                  <a:pt x="631696" y="137117"/>
                  <a:pt x="624193" y="138376"/>
                </a:cubicBezTo>
                <a:lnTo>
                  <a:pt x="624193" y="244966"/>
                </a:lnTo>
                <a:lnTo>
                  <a:pt x="596663" y="244966"/>
                </a:lnTo>
                <a:lnTo>
                  <a:pt x="596663" y="119840"/>
                </a:lnTo>
                <a:cubicBezTo>
                  <a:pt x="614171" y="115583"/>
                  <a:pt x="633435" y="112833"/>
                  <a:pt x="646703" y="112833"/>
                </a:cubicBezTo>
                <a:cubicBezTo>
                  <a:pt x="692751" y="112833"/>
                  <a:pt x="707510" y="130607"/>
                  <a:pt x="707510" y="160886"/>
                </a:cubicBezTo>
                <a:close/>
                <a:moveTo>
                  <a:pt x="783820" y="224425"/>
                </a:moveTo>
                <a:cubicBezTo>
                  <a:pt x="791820" y="224425"/>
                  <a:pt x="799341" y="222917"/>
                  <a:pt x="805336" y="220664"/>
                </a:cubicBezTo>
                <a:cubicBezTo>
                  <a:pt x="804591" y="228168"/>
                  <a:pt x="803580" y="236682"/>
                  <a:pt x="802090" y="243937"/>
                </a:cubicBezTo>
                <a:cubicBezTo>
                  <a:pt x="794587" y="246935"/>
                  <a:pt x="786587" y="247946"/>
                  <a:pt x="778818" y="247946"/>
                </a:cubicBezTo>
                <a:cubicBezTo>
                  <a:pt x="752050" y="247946"/>
                  <a:pt x="735039" y="235689"/>
                  <a:pt x="735039" y="205161"/>
                </a:cubicBezTo>
                <a:lnTo>
                  <a:pt x="735039" y="73809"/>
                </a:lnTo>
                <a:cubicBezTo>
                  <a:pt x="743554" y="71060"/>
                  <a:pt x="754055" y="69800"/>
                  <a:pt x="762569" y="69800"/>
                </a:cubicBezTo>
                <a:lnTo>
                  <a:pt x="762569" y="117090"/>
                </a:lnTo>
                <a:lnTo>
                  <a:pt x="806099" y="117090"/>
                </a:lnTo>
                <a:cubicBezTo>
                  <a:pt x="805602" y="125605"/>
                  <a:pt x="804857" y="133356"/>
                  <a:pt x="803598" y="140611"/>
                </a:cubicBezTo>
                <a:lnTo>
                  <a:pt x="762569" y="140611"/>
                </a:lnTo>
                <a:lnTo>
                  <a:pt x="762569" y="201915"/>
                </a:lnTo>
                <a:cubicBezTo>
                  <a:pt x="762552" y="218181"/>
                  <a:pt x="770569" y="224425"/>
                  <a:pt x="783820" y="224425"/>
                </a:cubicBezTo>
                <a:close/>
                <a:moveTo>
                  <a:pt x="931456" y="119840"/>
                </a:moveTo>
                <a:lnTo>
                  <a:pt x="931456" y="244948"/>
                </a:lnTo>
                <a:lnTo>
                  <a:pt x="906178" y="244948"/>
                </a:lnTo>
                <a:lnTo>
                  <a:pt x="904671" y="229941"/>
                </a:lnTo>
                <a:cubicBezTo>
                  <a:pt x="897664" y="240957"/>
                  <a:pt x="886915" y="247946"/>
                  <a:pt x="869389" y="247946"/>
                </a:cubicBezTo>
                <a:cubicBezTo>
                  <a:pt x="836361" y="247946"/>
                  <a:pt x="814347" y="223928"/>
                  <a:pt x="814347" y="181888"/>
                </a:cubicBezTo>
                <a:cubicBezTo>
                  <a:pt x="814347" y="137844"/>
                  <a:pt x="837868" y="112833"/>
                  <a:pt x="884148" y="112833"/>
                </a:cubicBezTo>
                <a:cubicBezTo>
                  <a:pt x="902170" y="112833"/>
                  <a:pt x="916928" y="114838"/>
                  <a:pt x="931456" y="119840"/>
                </a:cubicBezTo>
                <a:close/>
                <a:moveTo>
                  <a:pt x="903926" y="216425"/>
                </a:moveTo>
                <a:lnTo>
                  <a:pt x="903926" y="137862"/>
                </a:lnTo>
                <a:cubicBezTo>
                  <a:pt x="898179" y="136869"/>
                  <a:pt x="891917" y="136354"/>
                  <a:pt x="884165" y="136354"/>
                </a:cubicBezTo>
                <a:cubicBezTo>
                  <a:pt x="855642" y="136354"/>
                  <a:pt x="842374" y="153862"/>
                  <a:pt x="842374" y="181888"/>
                </a:cubicBezTo>
                <a:cubicBezTo>
                  <a:pt x="842374" y="207414"/>
                  <a:pt x="852627" y="225418"/>
                  <a:pt x="877159" y="225418"/>
                </a:cubicBezTo>
                <a:cubicBezTo>
                  <a:pt x="887908" y="225436"/>
                  <a:pt x="896671" y="221924"/>
                  <a:pt x="903926" y="216425"/>
                </a:cubicBezTo>
                <a:close/>
                <a:moveTo>
                  <a:pt x="1072315" y="160886"/>
                </a:moveTo>
                <a:lnTo>
                  <a:pt x="1072315" y="244948"/>
                </a:lnTo>
                <a:lnTo>
                  <a:pt x="1044786" y="244948"/>
                </a:lnTo>
                <a:lnTo>
                  <a:pt x="1044786" y="165640"/>
                </a:lnTo>
                <a:cubicBezTo>
                  <a:pt x="1044786" y="145880"/>
                  <a:pt x="1038276" y="136372"/>
                  <a:pt x="1010763" y="136372"/>
                </a:cubicBezTo>
                <a:cubicBezTo>
                  <a:pt x="1004254" y="136372"/>
                  <a:pt x="996502" y="137117"/>
                  <a:pt x="988999" y="138376"/>
                </a:cubicBezTo>
                <a:lnTo>
                  <a:pt x="988999" y="244966"/>
                </a:lnTo>
                <a:lnTo>
                  <a:pt x="961469" y="244966"/>
                </a:lnTo>
                <a:lnTo>
                  <a:pt x="961469" y="119840"/>
                </a:lnTo>
                <a:cubicBezTo>
                  <a:pt x="978977" y="115583"/>
                  <a:pt x="998240" y="112833"/>
                  <a:pt x="1011508" y="112833"/>
                </a:cubicBezTo>
                <a:cubicBezTo>
                  <a:pt x="1057557" y="112833"/>
                  <a:pt x="1072315" y="130607"/>
                  <a:pt x="1072315" y="160886"/>
                </a:cubicBezTo>
                <a:close/>
                <a:moveTo>
                  <a:pt x="1211933" y="69800"/>
                </a:moveTo>
                <a:lnTo>
                  <a:pt x="1211933" y="244930"/>
                </a:lnTo>
                <a:lnTo>
                  <a:pt x="1186656" y="244930"/>
                </a:lnTo>
                <a:lnTo>
                  <a:pt x="1185149" y="228913"/>
                </a:lnTo>
                <a:cubicBezTo>
                  <a:pt x="1178142" y="240673"/>
                  <a:pt x="1167393" y="247928"/>
                  <a:pt x="1149371" y="247928"/>
                </a:cubicBezTo>
                <a:cubicBezTo>
                  <a:pt x="1116342" y="247928"/>
                  <a:pt x="1094329" y="223910"/>
                  <a:pt x="1094329" y="181871"/>
                </a:cubicBezTo>
                <a:cubicBezTo>
                  <a:pt x="1094329" y="137826"/>
                  <a:pt x="1117850" y="112815"/>
                  <a:pt x="1164129" y="112815"/>
                </a:cubicBezTo>
                <a:cubicBezTo>
                  <a:pt x="1171384" y="112815"/>
                  <a:pt x="1178142" y="113560"/>
                  <a:pt x="1184652" y="114820"/>
                </a:cubicBezTo>
                <a:lnTo>
                  <a:pt x="1184652" y="73561"/>
                </a:lnTo>
                <a:cubicBezTo>
                  <a:pt x="1193166" y="70563"/>
                  <a:pt x="1202922" y="69800"/>
                  <a:pt x="1211933" y="69800"/>
                </a:cubicBezTo>
                <a:close/>
                <a:moveTo>
                  <a:pt x="1184652" y="215928"/>
                </a:moveTo>
                <a:lnTo>
                  <a:pt x="1184652" y="138855"/>
                </a:lnTo>
                <a:cubicBezTo>
                  <a:pt x="1177397" y="137348"/>
                  <a:pt x="1169894" y="136354"/>
                  <a:pt x="1162639" y="136354"/>
                </a:cubicBezTo>
                <a:cubicBezTo>
                  <a:pt x="1135375" y="136354"/>
                  <a:pt x="1122355" y="153365"/>
                  <a:pt x="1122355" y="181888"/>
                </a:cubicBezTo>
                <a:cubicBezTo>
                  <a:pt x="1122355" y="207414"/>
                  <a:pt x="1132608" y="225418"/>
                  <a:pt x="1157140" y="225418"/>
                </a:cubicBezTo>
                <a:cubicBezTo>
                  <a:pt x="1168138" y="225436"/>
                  <a:pt x="1177149" y="221675"/>
                  <a:pt x="1184652" y="215928"/>
                </a:cubicBezTo>
                <a:close/>
                <a:moveTo>
                  <a:pt x="1350292" y="191396"/>
                </a:moveTo>
                <a:lnTo>
                  <a:pt x="1262470" y="191396"/>
                </a:lnTo>
                <a:cubicBezTo>
                  <a:pt x="1265964" y="213658"/>
                  <a:pt x="1278984" y="224425"/>
                  <a:pt x="1303499" y="224425"/>
                </a:cubicBezTo>
                <a:cubicBezTo>
                  <a:pt x="1318505" y="224425"/>
                  <a:pt x="1333778" y="221179"/>
                  <a:pt x="1347525" y="214917"/>
                </a:cubicBezTo>
                <a:cubicBezTo>
                  <a:pt x="1346532" y="222172"/>
                  <a:pt x="1345024" y="231680"/>
                  <a:pt x="1343268" y="239928"/>
                </a:cubicBezTo>
                <a:cubicBezTo>
                  <a:pt x="1330762" y="245675"/>
                  <a:pt x="1317494" y="247928"/>
                  <a:pt x="1302736" y="247928"/>
                </a:cubicBezTo>
                <a:cubicBezTo>
                  <a:pt x="1256705" y="247928"/>
                  <a:pt x="1234426" y="222403"/>
                  <a:pt x="1234426" y="179618"/>
                </a:cubicBezTo>
                <a:cubicBezTo>
                  <a:pt x="1234426" y="142332"/>
                  <a:pt x="1251685" y="112815"/>
                  <a:pt x="1295481" y="112815"/>
                </a:cubicBezTo>
                <a:cubicBezTo>
                  <a:pt x="1334753" y="112815"/>
                  <a:pt x="1351782" y="138589"/>
                  <a:pt x="1351782" y="170110"/>
                </a:cubicBezTo>
                <a:cubicBezTo>
                  <a:pt x="1351800" y="177897"/>
                  <a:pt x="1351303" y="184141"/>
                  <a:pt x="1350292" y="191396"/>
                </a:cubicBezTo>
                <a:close/>
                <a:moveTo>
                  <a:pt x="1261973" y="168390"/>
                </a:moveTo>
                <a:lnTo>
                  <a:pt x="1324022" y="168390"/>
                </a:lnTo>
                <a:cubicBezTo>
                  <a:pt x="1324022" y="147866"/>
                  <a:pt x="1313006" y="135858"/>
                  <a:pt x="1293991" y="135858"/>
                </a:cubicBezTo>
                <a:cubicBezTo>
                  <a:pt x="1274479" y="135858"/>
                  <a:pt x="1264226" y="147121"/>
                  <a:pt x="1261973" y="168390"/>
                </a:cubicBezTo>
                <a:close/>
                <a:moveTo>
                  <a:pt x="1446629" y="113844"/>
                </a:moveTo>
                <a:cubicBezTo>
                  <a:pt x="1446629" y="122110"/>
                  <a:pt x="1445635" y="132115"/>
                  <a:pt x="1444128" y="137365"/>
                </a:cubicBezTo>
                <a:cubicBezTo>
                  <a:pt x="1437618" y="136620"/>
                  <a:pt x="1431126" y="136372"/>
                  <a:pt x="1423356" y="136372"/>
                </a:cubicBezTo>
                <a:cubicBezTo>
                  <a:pt x="1416598" y="136372"/>
                  <a:pt x="1409840" y="136869"/>
                  <a:pt x="1403099" y="137880"/>
                </a:cubicBezTo>
                <a:lnTo>
                  <a:pt x="1403099" y="244966"/>
                </a:lnTo>
                <a:lnTo>
                  <a:pt x="1375569" y="244966"/>
                </a:lnTo>
                <a:lnTo>
                  <a:pt x="1375569" y="119840"/>
                </a:lnTo>
                <a:cubicBezTo>
                  <a:pt x="1387330" y="115831"/>
                  <a:pt x="1407090" y="112833"/>
                  <a:pt x="1422611" y="112833"/>
                </a:cubicBezTo>
                <a:cubicBezTo>
                  <a:pt x="1431108" y="112833"/>
                  <a:pt x="1440616" y="113099"/>
                  <a:pt x="1446629" y="113844"/>
                </a:cubicBezTo>
                <a:close/>
              </a:path>
            </a:pathLst>
          </a:custGeom>
          <a:solidFill>
            <a:schemeClr val="bg1"/>
          </a:solidFill>
          <a:ln w="1773" cap="flat">
            <a:noFill/>
            <a:prstDash val="solid"/>
            <a:miter/>
          </a:ln>
        </p:spPr>
        <p:txBody>
          <a:bodyPr rtlCol="0" anchor="ctr"/>
          <a:lstStyle/>
          <a:p>
            <a:endParaRPr lang="es-ES"/>
          </a:p>
        </p:txBody>
      </p:sp>
    </p:spTree>
    <p:extLst>
      <p:ext uri="{BB962C8B-B14F-4D97-AF65-F5344CB8AC3E}">
        <p14:creationId xmlns:p14="http://schemas.microsoft.com/office/powerpoint/2010/main" val="29152848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losing_DTB">
    <p:bg>
      <p:bgPr>
        <a:solidFill>
          <a:schemeClr val="accent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pic>
        <p:nvPicPr>
          <p:cNvPr id="10" name="Gráfico 9">
            <a:extLst>
              <a:ext uri="{FF2B5EF4-FFF2-40B4-BE49-F238E27FC236}">
                <a16:creationId xmlns:a16="http://schemas.microsoft.com/office/drawing/2014/main" id="{0736881D-BBF2-444C-8441-265893FC95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8"/>
            <a:ext cx="3181298" cy="549853"/>
          </a:xfrm>
          <a:prstGeom prst="rect">
            <a:avLst/>
          </a:prstGeom>
        </p:spPr>
      </p:pic>
    </p:spTree>
    <p:extLst>
      <p:ext uri="{BB962C8B-B14F-4D97-AF65-F5344CB8AC3E}">
        <p14:creationId xmlns:p14="http://schemas.microsoft.com/office/powerpoint/2010/main" val="42029639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menu01">
    <p:spTree>
      <p:nvGrpSpPr>
        <p:cNvPr id="1" name=""/>
        <p:cNvGrpSpPr/>
        <p:nvPr/>
      </p:nvGrpSpPr>
      <p:grpSpPr>
        <a:xfrm>
          <a:off x="0" y="0"/>
          <a:ext cx="0" cy="0"/>
          <a:chOff x="0" y="0"/>
          <a:chExt cx="0" cy="0"/>
        </a:xfrm>
      </p:grpSpPr>
      <p:sp>
        <p:nvSpPr>
          <p:cNvPr id="2" name="object 9">
            <a:extLst>
              <a:ext uri="{FF2B5EF4-FFF2-40B4-BE49-F238E27FC236}">
                <a16:creationId xmlns:a16="http://schemas.microsoft.com/office/drawing/2014/main" id="{0B429C32-CFE7-4D4D-92DC-A9FFC3742143}"/>
              </a:ext>
            </a:extLst>
          </p:cNvPr>
          <p:cNvSpPr txBox="1">
            <a:spLocks noGrp="1"/>
          </p:cNvSpPr>
          <p:nvPr>
            <p:ph type="sldNum" sz="quarter" idx="4"/>
          </p:nvPr>
        </p:nvSpPr>
        <p:spPr>
          <a:xfrm>
            <a:off x="180975" y="6455099"/>
            <a:ext cx="376239" cy="180177"/>
          </a:xfrm>
          <a:prstGeom prst="rect">
            <a:avLst/>
          </a:prstGeom>
        </p:spPr>
        <p:txBody>
          <a:bodyPr vert="horz" wrap="square" lIns="0" tIns="26034" rIns="0" bIns="0" rtlCol="0">
            <a:spAutoFit/>
          </a:bodyPr>
          <a:lstStyle>
            <a:lvl1pPr algn="r">
              <a:defRPr lang="es-ES" sz="1000" b="0" i="0" smtClean="0">
                <a:solidFill>
                  <a:srgbClr val="005370"/>
                </a:solidFill>
                <a:latin typeface="Santander Headline"/>
                <a:cs typeface="Santander Headline"/>
              </a:defRPr>
            </a:lvl1pPr>
          </a:lstStyle>
          <a:p>
            <a:pPr marL="107314">
              <a:spcBef>
                <a:spcPts val="204"/>
              </a:spcBef>
            </a:pPr>
            <a:fld id="{81D60167-4931-47E6-BA6A-407CBD079E47}" type="slidenum">
              <a:rPr lang="es-ES" smtClean="0"/>
              <a:pPr marL="107314">
                <a:spcBef>
                  <a:spcPts val="204"/>
                </a:spcBef>
              </a:pPr>
              <a:t>‹Nº›</a:t>
            </a:fld>
            <a:endParaRPr lang="es-ES" dirty="0"/>
          </a:p>
        </p:txBody>
      </p:sp>
    </p:spTree>
    <p:extLst>
      <p:ext uri="{BB962C8B-B14F-4D97-AF65-F5344CB8AC3E}">
        <p14:creationId xmlns:p14="http://schemas.microsoft.com/office/powerpoint/2010/main" val="121698631"/>
      </p:ext>
    </p:extLst>
  </p:cSld>
  <p:clrMapOvr>
    <a:masterClrMapping/>
  </p:clrMapOvr>
  <p:extLst>
    <p:ext uri="{DCECCB84-F9BA-43D5-87BE-67443E8EF086}">
      <p15:sldGuideLst xmlns:p15="http://schemas.microsoft.com/office/powerpoint/2012/main">
        <p15:guide id="2" pos="740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age with image_03 lines">
    <p:spTree>
      <p:nvGrpSpPr>
        <p:cNvPr id="1" name=""/>
        <p:cNvGrpSpPr/>
        <p:nvPr/>
      </p:nvGrpSpPr>
      <p:grpSpPr>
        <a:xfrm>
          <a:off x="0" y="0"/>
          <a:ext cx="0" cy="0"/>
          <a:chOff x="0" y="0"/>
          <a:chExt cx="0" cy="0"/>
        </a:xfrm>
      </p:grpSpPr>
      <p:pic>
        <p:nvPicPr>
          <p:cNvPr id="7" name="Imagen 6" descr="Imagen que contiene verde, alfombra&#10;&#10;Descripción generada automáticamente">
            <a:extLst>
              <a:ext uri="{FF2B5EF4-FFF2-40B4-BE49-F238E27FC236}">
                <a16:creationId xmlns:a16="http://schemas.microsoft.com/office/drawing/2014/main" id="{525BFB9F-A664-4A6B-8166-6B2BB3BBE4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5"/>
            <a:ext cx="12191999" cy="5551712"/>
          </a:xfrm>
          <a:prstGeom prst="rect">
            <a:avLst/>
          </a:prstGeom>
        </p:spPr>
      </p:pic>
      <p:sp>
        <p:nvSpPr>
          <p:cNvPr id="10" name="Rectángulo 9">
            <a:extLst>
              <a:ext uri="{FF2B5EF4-FFF2-40B4-BE49-F238E27FC236}">
                <a16:creationId xmlns:a16="http://schemas.microsoft.com/office/drawing/2014/main" id="{BCC703BB-CD97-4DC0-9769-DBAED9EFB152}"/>
              </a:ext>
            </a:extLst>
          </p:cNvPr>
          <p:cNvSpPr/>
          <p:nvPr userDrawn="1"/>
        </p:nvSpPr>
        <p:spPr>
          <a:xfrm>
            <a:off x="0" y="653144"/>
            <a:ext cx="11955780" cy="5464174"/>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8" name="Conector recto 7">
            <a:extLst>
              <a:ext uri="{FF2B5EF4-FFF2-40B4-BE49-F238E27FC236}">
                <a16:creationId xmlns:a16="http://schemas.microsoft.com/office/drawing/2014/main" id="{8BC40F42-C737-423E-8BCF-90CBAB91E4EE}"/>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BB381F8E-DC47-4F62-A060-8D0B3656EC4A}"/>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ítulo 1">
            <a:extLst>
              <a:ext uri="{FF2B5EF4-FFF2-40B4-BE49-F238E27FC236}">
                <a16:creationId xmlns:a16="http://schemas.microsoft.com/office/drawing/2014/main" id="{DC3012CF-A3F9-4E31-B261-1CE8089D2663}"/>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5" name="Marcador de texto 4">
            <a:extLst>
              <a:ext uri="{FF2B5EF4-FFF2-40B4-BE49-F238E27FC236}">
                <a16:creationId xmlns:a16="http://schemas.microsoft.com/office/drawing/2014/main" id="{E6E0B8DB-29B0-4CEE-8795-3BFF3B0207A3}"/>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2524052160"/>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age with image_05 lines">
    <p:spTree>
      <p:nvGrpSpPr>
        <p:cNvPr id="1" name=""/>
        <p:cNvGrpSpPr/>
        <p:nvPr/>
      </p:nvGrpSpPr>
      <p:grpSpPr>
        <a:xfrm>
          <a:off x="0" y="0"/>
          <a:ext cx="0" cy="0"/>
          <a:chOff x="0" y="0"/>
          <a:chExt cx="0" cy="0"/>
        </a:xfrm>
      </p:grpSpPr>
      <p:pic>
        <p:nvPicPr>
          <p:cNvPr id="8" name="Imagen 7" descr="Una persona hablando por teléfono en la calle&#10;&#10;Descripción generada automáticamente con confianza baja">
            <a:extLst>
              <a:ext uri="{FF2B5EF4-FFF2-40B4-BE49-F238E27FC236}">
                <a16:creationId xmlns:a16="http://schemas.microsoft.com/office/drawing/2014/main" id="{E846C4AB-7134-460E-A356-9F9CFC90B1D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7"/>
            <a:ext cx="12182476" cy="5896344"/>
          </a:xfrm>
          <a:prstGeom prst="rect">
            <a:avLst/>
          </a:prstGeom>
        </p:spPr>
      </p:pic>
      <p:sp>
        <p:nvSpPr>
          <p:cNvPr id="10" name="Rectángulo 9">
            <a:extLst>
              <a:ext uri="{FF2B5EF4-FFF2-40B4-BE49-F238E27FC236}">
                <a16:creationId xmlns:a16="http://schemas.microsoft.com/office/drawing/2014/main" id="{89065A16-2004-462F-81B2-AEBBBA83A9E8}"/>
              </a:ext>
            </a:extLst>
          </p:cNvPr>
          <p:cNvSpPr/>
          <p:nvPr userDrawn="1"/>
        </p:nvSpPr>
        <p:spPr>
          <a:xfrm>
            <a:off x="-1" y="637807"/>
            <a:ext cx="12192001" cy="6220193"/>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7" name="Conector recto 6">
            <a:extLst>
              <a:ext uri="{FF2B5EF4-FFF2-40B4-BE49-F238E27FC236}">
                <a16:creationId xmlns:a16="http://schemas.microsoft.com/office/drawing/2014/main" id="{017AEF31-2D86-48F9-9861-27D4B546456F}"/>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DBD5407F-3EB9-43A8-A3F3-F74CDA9CC5AB}"/>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ítulo 1">
            <a:extLst>
              <a:ext uri="{FF2B5EF4-FFF2-40B4-BE49-F238E27FC236}">
                <a16:creationId xmlns:a16="http://schemas.microsoft.com/office/drawing/2014/main" id="{3FF75DF3-7F8C-4DAE-A209-547F2A87DA4D}"/>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5" name="Marcador de texto 4">
            <a:extLst>
              <a:ext uri="{FF2B5EF4-FFF2-40B4-BE49-F238E27FC236}">
                <a16:creationId xmlns:a16="http://schemas.microsoft.com/office/drawing/2014/main" id="{F596EFE0-11D3-4BF4-A9D4-FDDE2F9ED4AE}"/>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1412886493"/>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dex_01">
    <p:spTree>
      <p:nvGrpSpPr>
        <p:cNvPr id="1" name=""/>
        <p:cNvGrpSpPr/>
        <p:nvPr/>
      </p:nvGrpSpPr>
      <p:grpSpPr>
        <a:xfrm>
          <a:off x="0" y="0"/>
          <a:ext cx="0" cy="0"/>
          <a:chOff x="0" y="0"/>
          <a:chExt cx="0" cy="0"/>
        </a:xfrm>
      </p:grpSpPr>
      <p:pic>
        <p:nvPicPr>
          <p:cNvPr id="3" name="Imagen 2" descr="Persona en bicicleta en la calle&#10;&#10;Descripción generada automáticamente">
            <a:extLst>
              <a:ext uri="{FF2B5EF4-FFF2-40B4-BE49-F238E27FC236}">
                <a16:creationId xmlns:a16="http://schemas.microsoft.com/office/drawing/2014/main" id="{DFBCE102-0B1D-4047-A4E7-B62B88CB809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65371" y="845991"/>
            <a:ext cx="6226630" cy="6012009"/>
          </a:xfrm>
          <a:prstGeom prst="rect">
            <a:avLst/>
          </a:prstGeom>
        </p:spPr>
      </p:pic>
      <p:cxnSp>
        <p:nvCxnSpPr>
          <p:cNvPr id="4" name="Conector recto 3">
            <a:extLst>
              <a:ext uri="{FF2B5EF4-FFF2-40B4-BE49-F238E27FC236}">
                <a16:creationId xmlns:a16="http://schemas.microsoft.com/office/drawing/2014/main" id="{911076D1-219C-4FC1-8D80-8F1F629A9690}"/>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Conector recto 4">
            <a:extLst>
              <a:ext uri="{FF2B5EF4-FFF2-40B4-BE49-F238E27FC236}">
                <a16:creationId xmlns:a16="http://schemas.microsoft.com/office/drawing/2014/main" id="{ED64DCC0-A7B7-4FE9-B365-612F9ECAB20E}"/>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011952"/>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dex_03">
    <p:spTree>
      <p:nvGrpSpPr>
        <p:cNvPr id="1" name=""/>
        <p:cNvGrpSpPr/>
        <p:nvPr/>
      </p:nvGrpSpPr>
      <p:grpSpPr>
        <a:xfrm>
          <a:off x="0" y="0"/>
          <a:ext cx="0" cy="0"/>
          <a:chOff x="0" y="0"/>
          <a:chExt cx="0" cy="0"/>
        </a:xfrm>
      </p:grpSpPr>
      <p:pic>
        <p:nvPicPr>
          <p:cNvPr id="3" name="Imagen 2" descr="Imagen que contiene verde, alfombra&#10;&#10;Descripción generada automáticamente">
            <a:extLst>
              <a:ext uri="{FF2B5EF4-FFF2-40B4-BE49-F238E27FC236}">
                <a16:creationId xmlns:a16="http://schemas.microsoft.com/office/drawing/2014/main" id="{7C2D42DF-40DF-4E77-911C-4D86E599CE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65370" y="873125"/>
            <a:ext cx="6226630" cy="5984875"/>
          </a:xfrm>
          <a:prstGeom prst="rect">
            <a:avLst/>
          </a:prstGeom>
        </p:spPr>
      </p:pic>
      <p:cxnSp>
        <p:nvCxnSpPr>
          <p:cNvPr id="4" name="Conector recto 3">
            <a:extLst>
              <a:ext uri="{FF2B5EF4-FFF2-40B4-BE49-F238E27FC236}">
                <a16:creationId xmlns:a16="http://schemas.microsoft.com/office/drawing/2014/main" id="{46E030D6-43DE-460E-851D-BE19C1324EF9}"/>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DB9FE630-C55B-455F-ADB3-F0E349F8428F}"/>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921715"/>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image" Target="../media/image2.sv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6F6F6"/>
        </a:solidFill>
        <a:effectLst/>
      </p:bgPr>
    </p:bg>
    <p:spTree>
      <p:nvGrpSpPr>
        <p:cNvPr id="1" name=""/>
        <p:cNvGrpSpPr/>
        <p:nvPr/>
      </p:nvGrpSpPr>
      <p:grpSpPr>
        <a:xfrm>
          <a:off x="0" y="0"/>
          <a:ext cx="0" cy="0"/>
          <a:chOff x="0" y="0"/>
          <a:chExt cx="0" cy="0"/>
        </a:xfrm>
      </p:grpSpPr>
      <p:pic>
        <p:nvPicPr>
          <p:cNvPr id="5" name="Gráfico 4">
            <a:extLst>
              <a:ext uri="{FF2B5EF4-FFF2-40B4-BE49-F238E27FC236}">
                <a16:creationId xmlns:a16="http://schemas.microsoft.com/office/drawing/2014/main" id="{084ED6BD-187A-4FFC-83BA-17554F434F2C}"/>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42913" y="273212"/>
            <a:ext cx="838460" cy="190176"/>
          </a:xfrm>
          <a:prstGeom prst="rect">
            <a:avLst/>
          </a:prstGeom>
        </p:spPr>
      </p:pic>
    </p:spTree>
    <p:extLst>
      <p:ext uri="{BB962C8B-B14F-4D97-AF65-F5344CB8AC3E}">
        <p14:creationId xmlns:p14="http://schemas.microsoft.com/office/powerpoint/2010/main" val="3955702408"/>
      </p:ext>
    </p:extLst>
  </p:cSld>
  <p:clrMap bg1="lt1" tx1="dk1" bg2="lt2" tx2="dk2" accent1="accent1" accent2="accent2" accent3="accent3" accent4="accent4" accent5="accent5" accent6="accent6" hlink="hlink" folHlink="folHlink"/>
  <p:sldLayoutIdLst>
    <p:sldLayoutId id="2147483779" r:id="rId1"/>
    <p:sldLayoutId id="2147483835" r:id="rId2"/>
    <p:sldLayoutId id="2147483837" r:id="rId3"/>
    <p:sldLayoutId id="2147483876" r:id="rId4"/>
    <p:sldLayoutId id="2147483877" r:id="rId5"/>
    <p:sldLayoutId id="2147483879" r:id="rId6"/>
    <p:sldLayoutId id="2147483881" r:id="rId7"/>
    <p:sldLayoutId id="2147483667" r:id="rId8"/>
    <p:sldLayoutId id="2147483846" r:id="rId9"/>
    <p:sldLayoutId id="2147483848" r:id="rId10"/>
    <p:sldLayoutId id="2147483747" r:id="rId11"/>
    <p:sldLayoutId id="2147483864" r:id="rId12"/>
    <p:sldLayoutId id="2147483852" r:id="rId13"/>
    <p:sldLayoutId id="2147483865" r:id="rId14"/>
    <p:sldLayoutId id="2147483853" r:id="rId15"/>
    <p:sldLayoutId id="2147483866" r:id="rId16"/>
    <p:sldLayoutId id="2147483855" r:id="rId17"/>
    <p:sldLayoutId id="2147483868" r:id="rId18"/>
    <p:sldLayoutId id="2147483785" r:id="rId19"/>
    <p:sldLayoutId id="2147483740" r:id="rId20"/>
    <p:sldLayoutId id="2147483789" r:id="rId21"/>
    <p:sldLayoutId id="2147483863" r:id="rId22"/>
    <p:sldLayoutId id="2147483862" r:id="rId23"/>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E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13" userDrawn="1">
          <p15:clr>
            <a:srgbClr val="F26B43"/>
          </p15:clr>
        </p15:guide>
        <p15:guide id="3" orient="horz" pos="550" userDrawn="1">
          <p15:clr>
            <a:srgbClr val="F26B43"/>
          </p15:clr>
        </p15:guide>
        <p15:guide id="4" orient="horz" pos="3906" userDrawn="1">
          <p15:clr>
            <a:srgbClr val="F26B43"/>
          </p15:clr>
        </p15:guide>
        <p15:guide id="5" orient="horz" pos="278" userDrawn="1">
          <p15:clr>
            <a:srgbClr val="F26B43"/>
          </p15:clr>
        </p15:guide>
        <p15:guide id="6" pos="2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áfico 6">
            <a:extLst>
              <a:ext uri="{FF2B5EF4-FFF2-40B4-BE49-F238E27FC236}">
                <a16:creationId xmlns:a16="http://schemas.microsoft.com/office/drawing/2014/main" id="{4C123C35-58CB-4CF7-8A8B-06A19277FE58}"/>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42913" y="273212"/>
            <a:ext cx="838460" cy="190176"/>
          </a:xfrm>
          <a:prstGeom prst="rect">
            <a:avLst/>
          </a:prstGeom>
        </p:spPr>
      </p:pic>
    </p:spTree>
    <p:extLst>
      <p:ext uri="{BB962C8B-B14F-4D97-AF65-F5344CB8AC3E}">
        <p14:creationId xmlns:p14="http://schemas.microsoft.com/office/powerpoint/2010/main" val="3682351262"/>
      </p:ext>
    </p:extLst>
  </p:cSld>
  <p:clrMap bg1="lt1" tx1="dk1" bg2="lt2" tx2="dk2" accent1="accent1" accent2="accent2" accent3="accent3" accent4="accent4" accent5="accent5" accent6="accent6" hlink="hlink" folHlink="folHlink"/>
  <p:sldLayoutIdLst>
    <p:sldLayoutId id="2147483737" r:id="rId1"/>
    <p:sldLayoutId id="2147483769" r:id="rId2"/>
    <p:sldLayoutId id="2147483771" r:id="rId3"/>
    <p:sldLayoutId id="2147483829" r:id="rId4"/>
    <p:sldLayoutId id="2147483772" r:id="rId5"/>
    <p:sldLayoutId id="2147483832" r:id="rId6"/>
    <p:sldLayoutId id="2147483773" r:id="rId7"/>
    <p:sldLayoutId id="2147483831" r:id="rId8"/>
    <p:sldLayoutId id="2147483774" r:id="rId9"/>
    <p:sldLayoutId id="2147483833" r:id="rId10"/>
    <p:sldLayoutId id="2147483775" r:id="rId11"/>
    <p:sldLayoutId id="2147483830" r:id="rId12"/>
    <p:sldLayoutId id="2147483794" r:id="rId13"/>
    <p:sldLayoutId id="2147483735" r:id="rId14"/>
    <p:sldLayoutId id="2147483741" r:id="rId15"/>
    <p:sldLayoutId id="2147483757" r:id="rId16"/>
    <p:sldLayoutId id="2147483758" r:id="rId17"/>
    <p:sldLayoutId id="2147483793" r:id="rId18"/>
    <p:sldLayoutId id="2147483796" r:id="rId19"/>
    <p:sldLayoutId id="2147483795" r:id="rId20"/>
    <p:sldLayoutId id="2147483797" r:id="rId21"/>
    <p:sldLayoutId id="2147483798" r:id="rId22"/>
    <p:sldLayoutId id="2147483736" r:id="rId23"/>
    <p:sldLayoutId id="2147483770" r:id="rId24"/>
    <p:sldLayoutId id="2147483738" r:id="rId25"/>
    <p:sldLayoutId id="2147483765" r:id="rId26"/>
    <p:sldLayoutId id="2147483826" r:id="rId27"/>
    <p:sldLayoutId id="2147483827" r:id="rId28"/>
    <p:sldLayoutId id="2147483882" r:id="rId29"/>
    <p:sldLayoutId id="2147483883" r:id="rId30"/>
    <p:sldLayoutId id="2147483884" r:id="rId31"/>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E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01" userDrawn="1">
          <p15:clr>
            <a:srgbClr val="F26B43"/>
          </p15:clr>
        </p15:guide>
        <p15:guide id="2" pos="3024" userDrawn="1">
          <p15:clr>
            <a:srgbClr val="F26B43"/>
          </p15:clr>
        </p15:guide>
        <p15:guide id="4" orient="horz" pos="3929" userDrawn="1">
          <p15:clr>
            <a:srgbClr val="F26B43"/>
          </p15:clr>
        </p15:guide>
        <p15:guide id="5" orient="horz" pos="232" userDrawn="1">
          <p15:clr>
            <a:srgbClr val="F26B43"/>
          </p15:clr>
        </p15:guide>
        <p15:guide id="6" orient="horz" pos="504" userDrawn="1">
          <p15:clr>
            <a:srgbClr val="F26B43"/>
          </p15:clr>
        </p15:guide>
        <p15:guide id="7" pos="3386" userDrawn="1">
          <p15:clr>
            <a:srgbClr val="F26B43"/>
          </p15:clr>
        </p15:guide>
        <p15:guide id="8" pos="279" userDrawn="1">
          <p15:clr>
            <a:srgbClr val="F26B43"/>
          </p15:clr>
        </p15:guide>
        <p15:guide id="9"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2.xml"/><Relationship Id="rId1" Type="http://schemas.openxmlformats.org/officeDocument/2006/relationships/tags" Target="../tags/tag2.xml"/><Relationship Id="rId4" Type="http://schemas.openxmlformats.org/officeDocument/2006/relationships/image" Target="../media/image23.emf"/></Relationships>
</file>

<file path=ppt/slides/_rels/slide10.xml.rels><?xml version="1.0" encoding="UTF-8" standalone="yes"?>
<Relationships xmlns="http://schemas.openxmlformats.org/package/2006/relationships"><Relationship Id="rId3" Type="http://schemas.openxmlformats.org/officeDocument/2006/relationships/hyperlink" Target="https://investors.duolingo.com/news-releases/news-release-details/duolingo-launches-148-new-language-courses?utm_campaign=The%20Batch&amp;utm_medium=email&amp;_hsenc=p2ANqtz--mgOw1ilaSJgc0xiKQozZIvk8wGj9PS0eKqNo3jNHCZQbjPkHm_p0HZS5IbdgkC6CtRZ6p05fAAPlpkfMz8e5nZqlDLw&amp;_hsmi=364909070&amp;utm_content=364905475&amp;utm_source=hs_email" TargetMode="External"/><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29.png"/><Relationship Id="rId4" Type="http://schemas.openxmlformats.org/officeDocument/2006/relationships/hyperlink" Target="https://www.theverge.com/news/658968/duolingo-language-courses-ai?utm_campaign=The%20Batch&amp;utm_medium=email&amp;_hsenc=p2ANqtz-_1iT_BMrE8e9tE4mfgY7yN0hGGDDLHhEOu0kNMKrriA8ds1zPHnKkaMWa0HYBBhXmCzIanLm-wyIB5MQseJgd0PLAy6Q&amp;_hsmi=364909070&amp;utm_content=364905475&amp;utm_source=hs_emai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investors.duolingo.com/news-releases/news-release-details/duolingo-launches-148-new-language-courses?utm_campaign=The%20Batch&amp;utm_medium=email&amp;_hsenc=p2ANqtz--mgOw1ilaSJgc0xiKQozZIvk8wGj9PS0eKqNo3jNHCZQbjPkHm_p0HZS5IbdgkC6CtRZ6p05fAAPlpkfMz8e5nZqlDLw&amp;_hsmi=364909070&amp;utm_content=364905475&amp;utm_source=hs_email"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5" Type="http://schemas.openxmlformats.org/officeDocument/2006/relationships/image" Target="../media/image30.png"/><Relationship Id="rId4" Type="http://schemas.openxmlformats.org/officeDocument/2006/relationships/hyperlink" Target="https://www.bondcap.com/reports/tai"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https://info.deeplearning.ai/hs-fs/hubfs/ENERGYIEA.png?width=1200&amp;upscale=true&amp;name=ENERGYIEA.png"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hyperlink" Target="https://www.iea.org/news/ai-is-set-to-drive-surging-electricity-demand-from-data-centres-while-offering-the-potential-to-transform-how-the-energy-sector-works?utm_campaign=The%20Batch&amp;utm_medium=email&amp;_hsenc=p2ANqtz-8SUYn8T2Gk6v50tcy_yAy1B2CqPjiU0Ehe0c6-xOKvD0VeZdN4KZD1xLhWUC667KnZP5roz1ePd8qG6B6qrKklrgGT-Q&amp;_hsmi=364909070&amp;utm_content=364905475&amp;utm_source=hs_emai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hyperlink" Target="https://planetachatbot.com/la-cruda-realidad-sobre-los-agentes-de-ia-y-la-precision/"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9.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https://info.deeplearning.ai/hs-fs/hubfs/DEEPSEEK-R1.png?width=1200&amp;upscale=true&amp;name=DEEPSEEK-R1.png" TargetMode="External"/><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hyperlink" Target="https://arxiv.org/abs/2503.04130?utm_campaign=The%20Batch&amp;utm_medium=email&amp;_hsenc=p2ANqtz-96XaGcjALxrV-lIUzO9xaVQpknYwrppo0rsjqu7Ime-oqqbAgXFmkbl9Ccv73joip5XUOffjBxGrv96hACAOWRD5M_Cg&amp;_hsmi=366250355&amp;utm_content=366249873&amp;utm_source=hs_email" TargetMode="External"/><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https://info.deeplearning.ai/hs-fs/hubfs/Barchart-BENCHMARKCOSTS_9_1200px.jpg?width=1200&amp;upscale=true&amp;name=Barchart-BENCHMARKCOSTS_9_1200px.jpg"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hyperlink" Target="https://techcrunch.com/2025/04/10/the-rise-of-ai-reasoning-models-is-making-benchmarking-more-expensive/?utm_campaign=The%20Batch&amp;utm_medium=email&amp;_hsenc=p2ANqtz-8owQqcxt7dVKXfqZFoGMMUi77MtbNmg3hgY9Y_BmOLYPrjtgcCSbTEUKVO9JouPCJoXobsLuX741aBzw44x0cJgIIN8g&amp;_hsmi=366250355&amp;utm_content=366249873&amp;utm_source=hs_emai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investors.duolingo.com/news-releases/news-release-details/duolingo-launches-148-new-language-courses?utm_campaign=The%20Batch&amp;utm_medium=email&amp;_hsenc=p2ANqtz--mgOw1ilaSJgc0xiKQozZIvk8wGj9PS0eKqNo3jNHCZQbjPkHm_p0HZS5IbdgkC6CtRZ6p05fAAPlpkfMz8e5nZqlDLw&amp;_hsmi=364909070&amp;utm_content=364905475&amp;utm_source=hs_email" TargetMode="External"/><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image" Target="../media/image28.png"/><Relationship Id="rId5" Type="http://schemas.openxmlformats.org/officeDocument/2006/relationships/hyperlink" Target="https://cdn.sanity.io/files/gsvmb6gz/production/880b072208997108f87e5d2729d8a8be481310b5.pdf?utm_campaign=The%20Batch&amp;utm_medium=email&amp;_hsenc=p2ANqtz-8sK3yF-2X_7gYvWZDhgnHauGXnWZhUnzWL--5ApP4epWiFuk94rpRyfWbnbVG71znR8-dGXB5Q0Ju7Pf5xpHyLBsXPkg&amp;_hsmi=366250355&amp;utm_content=366249873&amp;utm_source=hs_email" TargetMode="External"/><Relationship Id="rId4" Type="http://schemas.openxmlformats.org/officeDocument/2006/relationships/hyperlink" Target="https://bfl.ai/announcements/flux-1-kontext?utm_campaign=The%20Batch&amp;utm_medium=email&amp;_hsenc=p2ANqtz-8M0y4l-23l3tjYL3zi9sL46ZwiA9GN9k2yQqi1zKZ6WmexmKQ6xEe3NoOFyLMvLk_-uSSH3-XCyHvhwq2oViPZPK16CA&amp;_hsmi=366250355&amp;utm_content=366249873&amp;utm_source=hs_emai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DD5914-BCDC-CF29-39B4-D03CEA154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63DD5914-BCDC-CF29-39B4-D03CEA154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6"/>
          <p:cNvSpPr txBox="1"/>
          <p:nvPr/>
        </p:nvSpPr>
        <p:spPr>
          <a:xfrm>
            <a:off x="767875" y="5643884"/>
            <a:ext cx="3253104" cy="409086"/>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8800"/>
              </a:lnSpc>
              <a:spcBef>
                <a:spcPts val="95"/>
              </a:spcBef>
              <a:spcAft>
                <a:spcPts val="0"/>
              </a:spcAft>
              <a:buClrTx/>
              <a:buSzTx/>
              <a:buFontTx/>
              <a:buNone/>
              <a:tabLst/>
              <a:defRPr/>
            </a:pPr>
            <a:r>
              <a:rPr kumimoji="0" lang="es-ES" sz="2500" b="0" i="0" u="none" strike="noStrike" kern="0" cap="none" spc="0" normalizeH="0" baseline="0" noProof="0" dirty="0">
                <a:ln>
                  <a:noFill/>
                </a:ln>
                <a:solidFill>
                  <a:srgbClr val="FFFFFF"/>
                </a:solidFill>
                <a:effectLst/>
                <a:uLnTx/>
                <a:uFillTx/>
                <a:latin typeface="Santander Headline"/>
                <a:ea typeface="+mn-ea"/>
                <a:cs typeface="Santander Headline"/>
              </a:rPr>
              <a:t>16 June 2025</a:t>
            </a:r>
            <a:endParaRPr kumimoji="0" sz="2500" b="0" i="0" u="none" strike="noStrike" kern="0" cap="none" spc="0" normalizeH="0" baseline="0" noProof="0" dirty="0">
              <a:ln>
                <a:noFill/>
              </a:ln>
              <a:solidFill>
                <a:sysClr val="windowText" lastClr="000000"/>
              </a:solidFill>
              <a:effectLst/>
              <a:uLnTx/>
              <a:uFillTx/>
              <a:latin typeface="Santander Headline"/>
              <a:ea typeface="+mn-ea"/>
              <a:cs typeface="Santander Headline"/>
            </a:endParaRPr>
          </a:p>
        </p:txBody>
      </p:sp>
      <p:sp>
        <p:nvSpPr>
          <p:cNvPr id="11" name="object 3">
            <a:extLst>
              <a:ext uri="{FF2B5EF4-FFF2-40B4-BE49-F238E27FC236}">
                <a16:creationId xmlns:a16="http://schemas.microsoft.com/office/drawing/2014/main" id="{D2ABA22D-F23D-20AB-0DA8-B06D42BD659D}"/>
              </a:ext>
            </a:extLst>
          </p:cNvPr>
          <p:cNvSpPr txBox="1">
            <a:spLocks noGrp="1"/>
          </p:cNvSpPr>
          <p:nvPr>
            <p:ph type="body" idx="4294967295"/>
          </p:nvPr>
        </p:nvSpPr>
        <p:spPr>
          <a:xfrm>
            <a:off x="735145" y="1534596"/>
            <a:ext cx="8687529" cy="1762214"/>
          </a:xfrm>
          <a:prstGeom prst="rect">
            <a:avLst/>
          </a:prstGeom>
        </p:spPr>
        <p:txBody>
          <a:bodyPr vert="horz" wrap="square" lIns="0" tIns="168275" rIns="0" bIns="0" rtlCol="0">
            <a:spAutoFit/>
          </a:bodyPr>
          <a:lstStyle/>
          <a:p>
            <a:pPr marL="0" marR="5080" indent="0">
              <a:lnSpc>
                <a:spcPts val="6000"/>
              </a:lnSpc>
              <a:spcBef>
                <a:spcPts val="1325"/>
              </a:spcBef>
              <a:buNone/>
            </a:pPr>
            <a:r>
              <a:rPr lang="en-US" sz="6000" dirty="0">
                <a:solidFill>
                  <a:schemeClr val="bg1"/>
                </a:solidFill>
                <a:latin typeface="Santander Text Light" panose="020B0304020201020104" pitchFamily="34" charset="0"/>
                <a:cs typeface="Santander Headline Light"/>
              </a:rPr>
              <a:t>Investments AI Circle</a:t>
            </a:r>
            <a:endParaRPr lang="en-US" sz="4000" dirty="0">
              <a:solidFill>
                <a:schemeClr val="bg1"/>
              </a:solidFill>
              <a:latin typeface="Santander Text Light" panose="020B0304020201020104" pitchFamily="34" charset="0"/>
              <a:cs typeface="Santander Headline Light"/>
            </a:endParaRPr>
          </a:p>
          <a:p>
            <a:pPr marL="0" marR="5080" indent="0">
              <a:lnSpc>
                <a:spcPts val="6000"/>
              </a:lnSpc>
              <a:spcBef>
                <a:spcPts val="1325"/>
              </a:spcBef>
              <a:buNone/>
            </a:pPr>
            <a:r>
              <a:rPr lang="en-US" sz="2400" b="1" dirty="0">
                <a:solidFill>
                  <a:schemeClr val="bg1"/>
                </a:solidFill>
                <a:latin typeface="Santander Text" panose="020B0504020201020104" pitchFamily="34" charset="0"/>
                <a:cs typeface="Santander Headline Light"/>
              </a:rPr>
              <a:t>FOLLOW-UP</a:t>
            </a:r>
            <a:endParaRPr lang="en-US" sz="4000" b="1" dirty="0">
              <a:solidFill>
                <a:schemeClr val="bg1"/>
              </a:solidFill>
              <a:latin typeface="Santander Text" panose="020B0504020201020104" pitchFamily="34" charset="0"/>
              <a:cs typeface="Santander Headline Ligh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70E16-2F2C-34F3-3485-F3EB1DCA96D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76905A8-4513-7ED2-8934-B70A7592AA91}"/>
              </a:ext>
            </a:extLst>
          </p:cNvPr>
          <p:cNvSpPr>
            <a:spLocks noGrp="1"/>
          </p:cNvSpPr>
          <p:nvPr>
            <p:ph type="ctrTitle"/>
          </p:nvPr>
        </p:nvSpPr>
        <p:spPr>
          <a:xfrm>
            <a:off x="439259" y="939173"/>
            <a:ext cx="11309829" cy="740981"/>
          </a:xfrm>
        </p:spPr>
        <p:txBody>
          <a:bodyPr/>
          <a:lstStyle/>
          <a:p>
            <a:pPr algn="just"/>
            <a:r>
              <a:rPr lang="en-US" dirty="0"/>
              <a:t>2.5) Recent updates in AI - Duolingo: AI-Powered Expansion of Language Learning</a:t>
            </a:r>
          </a:p>
        </p:txBody>
      </p:sp>
      <p:sp>
        <p:nvSpPr>
          <p:cNvPr id="3" name="Marcador de texto 4">
            <a:extLst>
              <a:ext uri="{FF2B5EF4-FFF2-40B4-BE49-F238E27FC236}">
                <a16:creationId xmlns:a16="http://schemas.microsoft.com/office/drawing/2014/main" id="{3B3BE394-9508-4D4F-4EF1-3AC9B79334C0}"/>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Duolingo has more than doubled its course catalog—from 100 to 148—by using generative AI for translation and content adaptation.</a:t>
            </a:r>
          </a:p>
          <a:p>
            <a:pPr marL="285750" indent="-285750" algn="just">
              <a:buClr>
                <a:srgbClr val="C00000"/>
              </a:buClr>
              <a:buFont typeface="Wingdings" panose="05000000000000000000" pitchFamily="2" charset="2"/>
              <a:buChar char="§"/>
            </a:pPr>
            <a:r>
              <a:rPr lang="en-US" sz="1800" b="1" dirty="0"/>
              <a:t>Expansion:</a:t>
            </a:r>
            <a:r>
              <a:rPr lang="en-US" sz="1800" dirty="0"/>
              <a:t> Popular courses (French, Japanese, Mandarin) now available in 28 languages.</a:t>
            </a:r>
          </a:p>
          <a:p>
            <a:pPr marL="285750" indent="-285750" algn="just">
              <a:buClr>
                <a:srgbClr val="C00000"/>
              </a:buClr>
              <a:buFont typeface="Wingdings" panose="05000000000000000000" pitchFamily="2" charset="2"/>
              <a:buChar char="§"/>
            </a:pPr>
            <a:r>
              <a:rPr lang="en-US" sz="1800" b="1" dirty="0"/>
              <a:t>Agility:</a:t>
            </a:r>
            <a:r>
              <a:rPr lang="en-US" sz="1800" dirty="0"/>
              <a:t> Course production that once took years now takes only months.</a:t>
            </a:r>
          </a:p>
          <a:p>
            <a:pPr marL="285750" indent="-285750" algn="just">
              <a:buClr>
                <a:srgbClr val="C00000"/>
              </a:buClr>
              <a:buFont typeface="Wingdings" panose="05000000000000000000" pitchFamily="2" charset="2"/>
              <a:buChar char="§"/>
            </a:pPr>
            <a:r>
              <a:rPr lang="en-US" sz="1800" b="1" dirty="0"/>
              <a:t>AI at the core:</a:t>
            </a:r>
            <a:r>
              <a:rPr lang="en-US" sz="1800" dirty="0"/>
              <a:t> Uses models like GPT and Claude to create educational content, including for math.</a:t>
            </a:r>
          </a:p>
          <a:p>
            <a:pPr marL="285750" indent="-285750" algn="just">
              <a:buClr>
                <a:srgbClr val="C00000"/>
              </a:buClr>
              <a:buFont typeface="Wingdings" panose="05000000000000000000" pitchFamily="2" charset="2"/>
              <a:buChar char="§"/>
            </a:pPr>
            <a:r>
              <a:rPr lang="en-US" sz="1800" b="1" dirty="0"/>
              <a:t>Workforce impact:</a:t>
            </a:r>
            <a:r>
              <a:rPr lang="en-US" sz="1800" dirty="0"/>
              <a:t> Automates repetitive tasks, focusing hiring on technical roles.</a:t>
            </a:r>
            <a:endParaRPr lang="en-US" sz="1800" dirty="0">
              <a:latin typeface="+mn-lt"/>
            </a:endParaRPr>
          </a:p>
        </p:txBody>
      </p:sp>
      <p:sp>
        <p:nvSpPr>
          <p:cNvPr id="4" name="CuadroTexto 3">
            <a:extLst>
              <a:ext uri="{FF2B5EF4-FFF2-40B4-BE49-F238E27FC236}">
                <a16:creationId xmlns:a16="http://schemas.microsoft.com/office/drawing/2014/main" id="{8D73FF08-54D5-282D-E40A-4933E1216A79}"/>
              </a:ext>
            </a:extLst>
          </p:cNvPr>
          <p:cNvSpPr txBox="1"/>
          <p:nvPr/>
        </p:nvSpPr>
        <p:spPr>
          <a:xfrm>
            <a:off x="439259" y="5427508"/>
            <a:ext cx="6070398" cy="646331"/>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 real-world case of how AI accelerates scalability and personalization in digital education.</a:t>
            </a:r>
            <a:endParaRPr lang="es-ES" dirty="0">
              <a:solidFill>
                <a:schemeClr val="bg1"/>
              </a:solidFill>
              <a:latin typeface="Santander Text" panose="020B0504020201020104" pitchFamily="34" charset="0"/>
            </a:endParaRPr>
          </a:p>
        </p:txBody>
      </p:sp>
      <p:sp>
        <p:nvSpPr>
          <p:cNvPr id="9" name="CuadroTexto 8">
            <a:extLst>
              <a:ext uri="{FF2B5EF4-FFF2-40B4-BE49-F238E27FC236}">
                <a16:creationId xmlns:a16="http://schemas.microsoft.com/office/drawing/2014/main" id="{0F42B645-42C8-CE6F-25ED-4462701975ED}"/>
              </a:ext>
            </a:extLst>
          </p:cNvPr>
          <p:cNvSpPr txBox="1"/>
          <p:nvPr/>
        </p:nvSpPr>
        <p:spPr>
          <a:xfrm>
            <a:off x="6975910" y="5084915"/>
            <a:ext cx="4641783" cy="1384995"/>
          </a:xfrm>
          <a:prstGeom prst="rect">
            <a:avLst/>
          </a:prstGeom>
          <a:noFill/>
        </p:spPr>
        <p:txBody>
          <a:bodyPr wrap="square">
            <a:spAutoFit/>
          </a:bodyPr>
          <a:lstStyle/>
          <a:p>
            <a:r>
              <a:rPr lang="en-US" sz="1400" b="1" dirty="0">
                <a:latin typeface="Santander Text" panose="020B0504020201020104" pitchFamily="34" charset="0"/>
              </a:rPr>
              <a:t>Links:</a:t>
            </a:r>
            <a:endParaRPr lang="en-US" sz="1400" b="1" dirty="0">
              <a:latin typeface="Santander Text" panose="020B0504020201020104" pitchFamily="34" charset="0"/>
              <a:hlinkClick r:id="rId3">
                <a:extLst>
                  <a:ext uri="{A12FA001-AC4F-418D-AE19-62706E023703}">
                    <ahyp:hlinkClr xmlns:ahyp="http://schemas.microsoft.com/office/drawing/2018/hyperlinkcolor" val="tx"/>
                  </a:ext>
                </a:extLst>
              </a:hlinkClick>
            </a:endParaRPr>
          </a:p>
          <a:p>
            <a:pPr marL="285750" indent="-285750">
              <a:buFont typeface="Wingdings" panose="05000000000000000000" pitchFamily="2" charset="2"/>
              <a:buChar char="Ø"/>
            </a:pPr>
            <a:r>
              <a:rPr lang="en-US" sz="1400" dirty="0">
                <a:solidFill>
                  <a:srgbClr val="005471"/>
                </a:solidFill>
                <a:hlinkClick r:id="rId3">
                  <a:extLst>
                    <a:ext uri="{A12FA001-AC4F-418D-AE19-62706E023703}">
                      <ahyp:hlinkClr xmlns:ahyp="http://schemas.microsoft.com/office/drawing/2018/hyperlinkcolor" val="tx"/>
                    </a:ext>
                  </a:extLst>
                </a:hlinkClick>
              </a:rPr>
              <a:t>Duolingo Launches 148 New Language Courses - Duolingo, Inc.</a:t>
            </a:r>
            <a:endParaRPr lang="en-US" sz="1400" dirty="0">
              <a:solidFill>
                <a:srgbClr val="005471"/>
              </a:solidFill>
            </a:endParaRPr>
          </a:p>
          <a:p>
            <a:pPr marL="285750" indent="-285750">
              <a:buClr>
                <a:srgbClr val="005471"/>
              </a:buClr>
              <a:buFont typeface="Wingdings" panose="05000000000000000000" pitchFamily="2" charset="2"/>
              <a:buChar char="Ø"/>
            </a:pPr>
            <a:r>
              <a:rPr lang="en-US" sz="1400" dirty="0">
                <a:hlinkClick r:id="rId4"/>
              </a:rPr>
              <a:t>Duolingo said it just doubled its language courses thanks to AI | The Verge</a:t>
            </a:r>
            <a:endParaRPr lang="es-ES" sz="1400" dirty="0"/>
          </a:p>
          <a:p>
            <a:pPr marL="285750" indent="-285750">
              <a:buFont typeface="Wingdings" panose="05000000000000000000" pitchFamily="2" charset="2"/>
              <a:buChar char="Ø"/>
            </a:pPr>
            <a:endParaRPr lang="es-ES" sz="1400" dirty="0"/>
          </a:p>
        </p:txBody>
      </p:sp>
      <p:pic>
        <p:nvPicPr>
          <p:cNvPr id="18" name="Imagen 17">
            <a:extLst>
              <a:ext uri="{FF2B5EF4-FFF2-40B4-BE49-F238E27FC236}">
                <a16:creationId xmlns:a16="http://schemas.microsoft.com/office/drawing/2014/main" id="{5286C3A3-4DB6-F80F-E7FB-CCB1D715A38C}"/>
              </a:ext>
            </a:extLst>
          </p:cNvPr>
          <p:cNvPicPr>
            <a:picLocks noChangeAspect="1"/>
          </p:cNvPicPr>
          <p:nvPr/>
        </p:nvPicPr>
        <p:blipFill>
          <a:blip r:embed="rId5"/>
          <a:stretch>
            <a:fillRect/>
          </a:stretch>
        </p:blipFill>
        <p:spPr>
          <a:xfrm>
            <a:off x="7233860" y="1647124"/>
            <a:ext cx="4064060" cy="3147389"/>
          </a:xfrm>
          <a:prstGeom prst="rect">
            <a:avLst/>
          </a:prstGeom>
        </p:spPr>
      </p:pic>
    </p:spTree>
    <p:extLst>
      <p:ext uri="{BB962C8B-B14F-4D97-AF65-F5344CB8AC3E}">
        <p14:creationId xmlns:p14="http://schemas.microsoft.com/office/powerpoint/2010/main" val="5595954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48C7B-DC54-7FA3-3763-40CE9F9CD3B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91CBB59-31FD-31A7-EF2D-509097201562}"/>
              </a:ext>
            </a:extLst>
          </p:cNvPr>
          <p:cNvSpPr>
            <a:spLocks noGrp="1"/>
          </p:cNvSpPr>
          <p:nvPr>
            <p:ph type="ctrTitle"/>
          </p:nvPr>
        </p:nvSpPr>
        <p:spPr>
          <a:xfrm>
            <a:off x="439259" y="939173"/>
            <a:ext cx="11309829" cy="740981"/>
          </a:xfrm>
        </p:spPr>
        <p:txBody>
          <a:bodyPr/>
          <a:lstStyle/>
          <a:p>
            <a:pPr algn="just"/>
            <a:r>
              <a:rPr lang="en-US" dirty="0"/>
              <a:t>2.6) Recent updates in AI - AI Trends 2025 Report (Mary Meeker)</a:t>
            </a:r>
          </a:p>
        </p:txBody>
      </p:sp>
      <p:sp>
        <p:nvSpPr>
          <p:cNvPr id="3" name="Marcador de texto 4">
            <a:extLst>
              <a:ext uri="{FF2B5EF4-FFF2-40B4-BE49-F238E27FC236}">
                <a16:creationId xmlns:a16="http://schemas.microsoft.com/office/drawing/2014/main" id="{5BE2908F-525F-80DE-745F-0E3C60001B89}"/>
              </a:ext>
            </a:extLst>
          </p:cNvPr>
          <p:cNvSpPr txBox="1">
            <a:spLocks/>
          </p:cNvSpPr>
          <p:nvPr/>
        </p:nvSpPr>
        <p:spPr>
          <a:xfrm>
            <a:off x="439260" y="1433764"/>
            <a:ext cx="6855620"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Mary Meeker returns with a 340-page report on the evolution of the AI market, highlighting opportunities for both value creation and destruction.</a:t>
            </a:r>
          </a:p>
          <a:p>
            <a:pPr marL="285750" indent="-285750" algn="just">
              <a:buClr>
                <a:srgbClr val="C00000"/>
              </a:buClr>
              <a:buFont typeface="Wingdings" panose="05000000000000000000" pitchFamily="2" charset="2"/>
              <a:buChar char="§"/>
            </a:pPr>
            <a:r>
              <a:rPr lang="en-US" sz="1800" b="1" dirty="0"/>
              <a:t>Explosive growth:</a:t>
            </a:r>
            <a:r>
              <a:rPr lang="en-US" sz="1800" dirty="0"/>
              <a:t> ChatGPT reached 800M users. Big tech </a:t>
            </a:r>
            <a:r>
              <a:rPr lang="en-US" sz="1800" dirty="0" err="1"/>
              <a:t>CapEx</a:t>
            </a:r>
            <a:r>
              <a:rPr lang="en-US" sz="1800" dirty="0"/>
              <a:t> rose 63% in one year.</a:t>
            </a:r>
          </a:p>
          <a:p>
            <a:pPr marL="285750" indent="-285750" algn="just">
              <a:buClr>
                <a:srgbClr val="C00000"/>
              </a:buClr>
              <a:buFont typeface="Wingdings" panose="05000000000000000000" pitchFamily="2" charset="2"/>
              <a:buChar char="§"/>
            </a:pPr>
            <a:r>
              <a:rPr lang="en-US" sz="1800" b="1" dirty="0"/>
              <a:t>Mixed economics:</a:t>
            </a:r>
            <a:r>
              <a:rPr lang="en-US" sz="1800" dirty="0"/>
              <a:t> Revenues and capabilities are up, but so are computational costs.</a:t>
            </a:r>
          </a:p>
          <a:p>
            <a:pPr marL="285750" indent="-285750" algn="just">
              <a:buClr>
                <a:srgbClr val="C00000"/>
              </a:buClr>
              <a:buFont typeface="Wingdings" panose="05000000000000000000" pitchFamily="2" charset="2"/>
              <a:buChar char="§"/>
            </a:pPr>
            <a:r>
              <a:rPr lang="en-US" sz="1800" b="1" dirty="0"/>
              <a:t>Technical progress:</a:t>
            </a:r>
            <a:r>
              <a:rPr lang="en-US" sz="1800" dirty="0"/>
              <a:t> AI is outperforming humans in language benchmarks and generating highly realistic images, video, and audio.</a:t>
            </a:r>
          </a:p>
          <a:p>
            <a:pPr marL="285750" indent="-285750" algn="just">
              <a:buClr>
                <a:srgbClr val="C00000"/>
              </a:buClr>
              <a:buFont typeface="Wingdings" panose="05000000000000000000" pitchFamily="2" charset="2"/>
              <a:buChar char="§"/>
            </a:pPr>
            <a:r>
              <a:rPr lang="en-US" sz="1800" b="1" dirty="0"/>
              <a:t>10-year outlook:</a:t>
            </a:r>
            <a:r>
              <a:rPr lang="en-US" sz="1800" dirty="0"/>
              <a:t> From today’s tutors and assistants to scientific breakthroughs and immersive digital worlds within a decade.</a:t>
            </a:r>
          </a:p>
          <a:p>
            <a:pPr marL="285750" indent="-285750" algn="just">
              <a:buClr>
                <a:srgbClr val="C00000"/>
              </a:buClr>
              <a:buFont typeface="Wingdings" panose="05000000000000000000" pitchFamily="2" charset="2"/>
              <a:buChar char="§"/>
            </a:pPr>
            <a:r>
              <a:rPr lang="en-US" sz="1800" b="1" dirty="0"/>
              <a:t>Workforce impact:</a:t>
            </a:r>
            <a:r>
              <a:rPr lang="en-US" sz="1800" dirty="0"/>
              <a:t> Major disruption expected in financial services, legal, software, healthcare, and media. Average productivity boost with AI is 14%.</a:t>
            </a:r>
            <a:endParaRPr lang="en-US" sz="1800" dirty="0">
              <a:latin typeface="+mn-lt"/>
            </a:endParaRPr>
          </a:p>
        </p:txBody>
      </p:sp>
      <p:sp>
        <p:nvSpPr>
          <p:cNvPr id="4" name="CuadroTexto 3">
            <a:extLst>
              <a:ext uri="{FF2B5EF4-FFF2-40B4-BE49-F238E27FC236}">
                <a16:creationId xmlns:a16="http://schemas.microsoft.com/office/drawing/2014/main" id="{4370BA60-09B2-0E91-48C4-349C97FE701C}"/>
              </a:ext>
            </a:extLst>
          </p:cNvPr>
          <p:cNvSpPr txBox="1"/>
          <p:nvPr/>
        </p:nvSpPr>
        <p:spPr>
          <a:xfrm>
            <a:off x="439258" y="6065449"/>
            <a:ext cx="7048661" cy="646331"/>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 clear call to prepare strategically—develop talent, adopt an AI-first mindset, and anticipate sector-wide disruptions.</a:t>
            </a:r>
            <a:endParaRPr lang="es-ES" dirty="0">
              <a:solidFill>
                <a:schemeClr val="bg1"/>
              </a:solidFill>
              <a:latin typeface="Santander Text" panose="020B0504020201020104" pitchFamily="34" charset="0"/>
            </a:endParaRPr>
          </a:p>
        </p:txBody>
      </p:sp>
      <p:sp>
        <p:nvSpPr>
          <p:cNvPr id="13" name="CuadroTexto 12">
            <a:extLst>
              <a:ext uri="{FF2B5EF4-FFF2-40B4-BE49-F238E27FC236}">
                <a16:creationId xmlns:a16="http://schemas.microsoft.com/office/drawing/2014/main" id="{35114BF3-E557-6CF1-9CFA-295F5F77DE79}"/>
              </a:ext>
            </a:extLst>
          </p:cNvPr>
          <p:cNvSpPr txBox="1"/>
          <p:nvPr/>
        </p:nvSpPr>
        <p:spPr>
          <a:xfrm>
            <a:off x="7758227" y="6127004"/>
            <a:ext cx="3940058" cy="523220"/>
          </a:xfrm>
          <a:prstGeom prst="rect">
            <a:avLst/>
          </a:prstGeom>
          <a:noFill/>
        </p:spPr>
        <p:txBody>
          <a:bodyPr wrap="square">
            <a:spAutoFit/>
          </a:bodyPr>
          <a:lstStyle/>
          <a:p>
            <a:r>
              <a:rPr lang="en-US" sz="1400" b="1" dirty="0">
                <a:latin typeface="Santander Text" panose="020B0504020201020104" pitchFamily="34" charset="0"/>
              </a:rPr>
              <a:t>Links:</a:t>
            </a:r>
            <a:endParaRPr lang="en-US" sz="1400" b="1" dirty="0">
              <a:latin typeface="Santander Text" panose="020B0504020201020104" pitchFamily="34" charset="0"/>
              <a:hlinkClick r:id="rId3">
                <a:extLst>
                  <a:ext uri="{A12FA001-AC4F-418D-AE19-62706E023703}">
                    <ahyp:hlinkClr xmlns:ahyp="http://schemas.microsoft.com/office/drawing/2018/hyperlinkcolor" val="tx"/>
                  </a:ext>
                </a:extLst>
              </a:hlinkClick>
            </a:endParaRPr>
          </a:p>
          <a:p>
            <a:pPr marL="285750" indent="-285750">
              <a:buFont typeface="Wingdings" panose="05000000000000000000" pitchFamily="2" charset="2"/>
              <a:buChar char="Ø"/>
            </a:pPr>
            <a:r>
              <a:rPr lang="en-US" sz="1400" dirty="0"/>
              <a:t>Report: </a:t>
            </a:r>
            <a:r>
              <a:rPr lang="es-ES" sz="1400" dirty="0">
                <a:hlinkClick r:id="rId4"/>
              </a:rPr>
              <a:t>BOND | BOND</a:t>
            </a:r>
            <a:endParaRPr lang="es-ES" sz="1400" dirty="0"/>
          </a:p>
        </p:txBody>
      </p:sp>
      <p:pic>
        <p:nvPicPr>
          <p:cNvPr id="19" name="Imagen 18">
            <a:extLst>
              <a:ext uri="{FF2B5EF4-FFF2-40B4-BE49-F238E27FC236}">
                <a16:creationId xmlns:a16="http://schemas.microsoft.com/office/drawing/2014/main" id="{D3838FDD-E692-C7B9-16B1-31B443373D56}"/>
              </a:ext>
            </a:extLst>
          </p:cNvPr>
          <p:cNvPicPr>
            <a:picLocks noChangeAspect="1"/>
          </p:cNvPicPr>
          <p:nvPr/>
        </p:nvPicPr>
        <p:blipFill>
          <a:blip r:embed="rId5"/>
          <a:stretch>
            <a:fillRect/>
          </a:stretch>
        </p:blipFill>
        <p:spPr>
          <a:xfrm>
            <a:off x="7426959" y="2221704"/>
            <a:ext cx="4641783" cy="2758696"/>
          </a:xfrm>
          <a:prstGeom prst="rect">
            <a:avLst/>
          </a:prstGeom>
        </p:spPr>
      </p:pic>
    </p:spTree>
    <p:extLst>
      <p:ext uri="{BB962C8B-B14F-4D97-AF65-F5344CB8AC3E}">
        <p14:creationId xmlns:p14="http://schemas.microsoft.com/office/powerpoint/2010/main" val="17248927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8BA75-ADA1-8843-07E2-8F93911B2E5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10D3768-F6CB-E321-B47F-E6B0FB1C0E8C}"/>
              </a:ext>
            </a:extLst>
          </p:cNvPr>
          <p:cNvSpPr>
            <a:spLocks noGrp="1"/>
          </p:cNvSpPr>
          <p:nvPr>
            <p:ph type="ctrTitle"/>
          </p:nvPr>
        </p:nvSpPr>
        <p:spPr>
          <a:xfrm>
            <a:off x="439259" y="939173"/>
            <a:ext cx="11309829" cy="740981"/>
          </a:xfrm>
        </p:spPr>
        <p:txBody>
          <a:bodyPr/>
          <a:lstStyle/>
          <a:p>
            <a:pPr algn="just"/>
            <a:r>
              <a:rPr lang="en-US" dirty="0"/>
              <a:t>2.7) Recent updates in AI - AI and Energy Consumption (IEA)</a:t>
            </a:r>
          </a:p>
        </p:txBody>
      </p:sp>
      <p:sp>
        <p:nvSpPr>
          <p:cNvPr id="3" name="Marcador de texto 4">
            <a:extLst>
              <a:ext uri="{FF2B5EF4-FFF2-40B4-BE49-F238E27FC236}">
                <a16:creationId xmlns:a16="http://schemas.microsoft.com/office/drawing/2014/main" id="{68F923A4-423F-D4BE-20EC-4B701FCC883C}"/>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The </a:t>
            </a:r>
            <a:r>
              <a:rPr lang="en-US" sz="1800" b="1" dirty="0">
                <a:latin typeface="+mn-lt"/>
              </a:rPr>
              <a:t>International Energy Agency (IEA) </a:t>
            </a:r>
            <a:r>
              <a:rPr lang="en-US" sz="1800" dirty="0">
                <a:latin typeface="+mn-lt"/>
              </a:rPr>
              <a:t>warns of exponential energy consumption by AI-driven data centers, but also highlights AI’s potential to save energy.</a:t>
            </a:r>
          </a:p>
          <a:p>
            <a:pPr marL="285750" indent="-285750" algn="just">
              <a:buClr>
                <a:srgbClr val="C00000"/>
              </a:buClr>
              <a:buFont typeface="Wingdings" panose="05000000000000000000" pitchFamily="2" charset="2"/>
              <a:buChar char="§"/>
            </a:pPr>
            <a:r>
              <a:rPr lang="en-US" sz="1800" b="1" dirty="0"/>
              <a:t>Projected consumption:</a:t>
            </a:r>
            <a:r>
              <a:rPr lang="en-US" sz="1800" dirty="0"/>
              <a:t> Global data center electricity usage expected to double by 2030.</a:t>
            </a:r>
          </a:p>
          <a:p>
            <a:pPr marL="285750" indent="-285750" algn="just">
              <a:buClr>
                <a:srgbClr val="C00000"/>
              </a:buClr>
              <a:buFont typeface="Wingdings" panose="05000000000000000000" pitchFamily="2" charset="2"/>
              <a:buChar char="§"/>
            </a:pPr>
            <a:r>
              <a:rPr lang="en-US" sz="1800" b="1" dirty="0"/>
              <a:t>Risks:</a:t>
            </a:r>
            <a:r>
              <a:rPr lang="en-US" sz="1800" dirty="0"/>
              <a:t> Strain on local power grids, especially in the U.S., China, and Europe.</a:t>
            </a:r>
          </a:p>
          <a:p>
            <a:pPr marL="285750" indent="-285750" algn="just">
              <a:buClr>
                <a:srgbClr val="C00000"/>
              </a:buClr>
              <a:buFont typeface="Wingdings" panose="05000000000000000000" pitchFamily="2" charset="2"/>
              <a:buChar char="§"/>
            </a:pPr>
            <a:r>
              <a:rPr lang="en-US" sz="1800" b="1" dirty="0"/>
              <a:t>Opportunities:</a:t>
            </a:r>
            <a:r>
              <a:rPr lang="en-US" sz="1800" dirty="0"/>
              <a:t> Energy optimization in buildings, industry, and transport; renewable integration; more efficient hardware.</a:t>
            </a:r>
          </a:p>
          <a:p>
            <a:pPr marL="285750" indent="-285750" algn="just">
              <a:buClr>
                <a:srgbClr val="C00000"/>
              </a:buClr>
              <a:buFont typeface="Wingdings" panose="05000000000000000000" pitchFamily="2" charset="2"/>
              <a:buChar char="§"/>
            </a:pPr>
            <a:r>
              <a:rPr lang="en-US" sz="1800" b="1" dirty="0"/>
              <a:t>Expected outcome:</a:t>
            </a:r>
            <a:r>
              <a:rPr lang="en-US" sz="1800" dirty="0"/>
              <a:t> Efficiency gains could cut emissions by up to 5x the projected growth.</a:t>
            </a:r>
            <a:endParaRPr lang="en-US" sz="1800" dirty="0">
              <a:latin typeface="+mn-lt"/>
            </a:endParaRPr>
          </a:p>
        </p:txBody>
      </p:sp>
      <p:sp>
        <p:nvSpPr>
          <p:cNvPr id="4" name="CuadroTexto 3">
            <a:extLst>
              <a:ext uri="{FF2B5EF4-FFF2-40B4-BE49-F238E27FC236}">
                <a16:creationId xmlns:a16="http://schemas.microsoft.com/office/drawing/2014/main" id="{FCBA60C6-CC72-AEDA-10B8-DF8E67072730}"/>
              </a:ext>
            </a:extLst>
          </p:cNvPr>
          <p:cNvSpPr txBox="1"/>
          <p:nvPr/>
        </p:nvSpPr>
        <p:spPr>
          <a:xfrm>
            <a:off x="439259" y="5610388"/>
            <a:ext cx="6070398" cy="646331"/>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I is both a challenge and a solution in the global energy transition.</a:t>
            </a:r>
            <a:endParaRPr lang="es-ES" dirty="0">
              <a:solidFill>
                <a:schemeClr val="bg1"/>
              </a:solidFill>
              <a:latin typeface="Santander Text" panose="020B0504020201020104" pitchFamily="34" charset="0"/>
            </a:endParaRPr>
          </a:p>
        </p:txBody>
      </p:sp>
      <p:pic>
        <p:nvPicPr>
          <p:cNvPr id="2050" name="Picture 2" descr="Bar chart comparing electricity use by various text-generation models: very small, small, medium-sized, large MoE, and large reasoning.">
            <a:extLst>
              <a:ext uri="{FF2B5EF4-FFF2-40B4-BE49-F238E27FC236}">
                <a16:creationId xmlns:a16="http://schemas.microsoft.com/office/drawing/2014/main" id="{7C4D46E7-B512-51BF-7348-73559264A474}"/>
              </a:ext>
            </a:extLst>
          </p:cNvPr>
          <p:cNvPicPr>
            <a:picLocks noChangeAspect="1" noChangeArrowheads="1"/>
          </p:cNvPicPr>
          <p:nvPr/>
        </p:nvPicPr>
        <p:blipFill>
          <a:blip r:link="rId3">
            <a:extLst>
              <a:ext uri="{28A0092B-C50C-407E-A947-70E740481C1C}">
                <a14:useLocalDpi xmlns:a14="http://schemas.microsoft.com/office/drawing/2010/main" val="0"/>
              </a:ext>
            </a:extLst>
          </a:blip>
          <a:srcRect/>
          <a:stretch>
            <a:fillRect/>
          </a:stretch>
        </p:blipFill>
        <p:spPr bwMode="auto">
          <a:xfrm>
            <a:off x="6872924" y="2135503"/>
            <a:ext cx="4893896" cy="2751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uadroTexto 4">
            <a:extLst>
              <a:ext uri="{FF2B5EF4-FFF2-40B4-BE49-F238E27FC236}">
                <a16:creationId xmlns:a16="http://schemas.microsoft.com/office/drawing/2014/main" id="{64F8E71A-F6FF-8E7B-692A-9A94995A6D57}"/>
              </a:ext>
            </a:extLst>
          </p:cNvPr>
          <p:cNvSpPr txBox="1"/>
          <p:nvPr/>
        </p:nvSpPr>
        <p:spPr>
          <a:xfrm>
            <a:off x="6975910" y="5328755"/>
            <a:ext cx="4641783" cy="1169551"/>
          </a:xfrm>
          <a:prstGeom prst="rect">
            <a:avLst/>
          </a:prstGeom>
          <a:noFill/>
        </p:spPr>
        <p:txBody>
          <a:bodyPr wrap="square">
            <a:spAutoFit/>
          </a:bodyPr>
          <a:lstStyle/>
          <a:p>
            <a:r>
              <a:rPr lang="en-US" sz="1400" b="1" dirty="0">
                <a:latin typeface="Santander Text" panose="020B0504020201020104" pitchFamily="34" charset="0"/>
              </a:rPr>
              <a:t>Links:</a:t>
            </a:r>
          </a:p>
          <a:p>
            <a:pPr marL="285750" indent="-285750">
              <a:buFont typeface="Wingdings" panose="05000000000000000000" pitchFamily="2" charset="2"/>
              <a:buChar char="Ø"/>
            </a:pPr>
            <a:r>
              <a:rPr lang="en-US" sz="1400" dirty="0">
                <a:hlinkClick r:id="rId4"/>
              </a:rPr>
              <a:t>AI is set to drive surging electricity demand from data </a:t>
            </a:r>
            <a:r>
              <a:rPr lang="en-US" sz="1400" dirty="0" err="1">
                <a:hlinkClick r:id="rId4"/>
              </a:rPr>
              <a:t>centres</a:t>
            </a:r>
            <a:r>
              <a:rPr lang="en-US" sz="1400" dirty="0">
                <a:hlinkClick r:id="rId4"/>
              </a:rPr>
              <a:t> while offering the potential to transform how the energy sector works - News - IEA</a:t>
            </a:r>
            <a:endParaRPr lang="es-ES" sz="1400" dirty="0"/>
          </a:p>
          <a:p>
            <a:pPr marL="285750" indent="-285750">
              <a:buFont typeface="Wingdings" panose="05000000000000000000" pitchFamily="2" charset="2"/>
              <a:buChar char="Ø"/>
            </a:pPr>
            <a:endParaRPr lang="es-ES" sz="1400" dirty="0"/>
          </a:p>
        </p:txBody>
      </p:sp>
    </p:spTree>
    <p:extLst>
      <p:ext uri="{BB962C8B-B14F-4D97-AF65-F5344CB8AC3E}">
        <p14:creationId xmlns:p14="http://schemas.microsoft.com/office/powerpoint/2010/main" val="35456088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53DB2-DF7D-CF80-00B0-D6BB1C5CFBA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0F373CA-6161-D38F-40BC-E9375402B351}"/>
              </a:ext>
            </a:extLst>
          </p:cNvPr>
          <p:cNvSpPr>
            <a:spLocks noGrp="1"/>
          </p:cNvSpPr>
          <p:nvPr>
            <p:ph type="ctrTitle"/>
          </p:nvPr>
        </p:nvSpPr>
        <p:spPr>
          <a:xfrm>
            <a:off x="439259" y="939173"/>
            <a:ext cx="11309829" cy="740981"/>
          </a:xfrm>
        </p:spPr>
        <p:txBody>
          <a:bodyPr/>
          <a:lstStyle/>
          <a:p>
            <a:pPr algn="just"/>
            <a:r>
              <a:rPr lang="en-US" dirty="0"/>
              <a:t>3.1) AI agents' accuracy – Article conclusion</a:t>
            </a:r>
          </a:p>
        </p:txBody>
      </p:sp>
      <p:sp>
        <p:nvSpPr>
          <p:cNvPr id="6" name="Marcador de texto 4">
            <a:extLst>
              <a:ext uri="{FF2B5EF4-FFF2-40B4-BE49-F238E27FC236}">
                <a16:creationId xmlns:a16="http://schemas.microsoft.com/office/drawing/2014/main" id="{3CB4BC66-102E-75FF-1BC9-F5D37AD3327D}"/>
              </a:ext>
            </a:extLst>
          </p:cNvPr>
          <p:cNvSpPr txBox="1">
            <a:spLocks/>
          </p:cNvSpPr>
          <p:nvPr/>
        </p:nvSpPr>
        <p:spPr>
          <a:xfrm>
            <a:off x="439259" y="1441743"/>
            <a:ext cx="3706021" cy="2581617"/>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AI agents</a:t>
            </a:r>
            <a:r>
              <a:rPr lang="en-US" sz="1800" dirty="0">
                <a:latin typeface="+mn-lt"/>
              </a:rPr>
              <a:t> are powerful, but their successful deployment </a:t>
            </a:r>
            <a:r>
              <a:rPr lang="en-US" sz="1800" b="1" dirty="0">
                <a:latin typeface="+mn-lt"/>
              </a:rPr>
              <a:t>requires careful consideration of task fit, supervision needs, and cost-performance tradeoffs</a:t>
            </a:r>
            <a:r>
              <a:rPr lang="en-US" sz="1800" dirty="0">
                <a:latin typeface="+mn-lt"/>
              </a:rPr>
              <a:t>. For critical business contexts, these factors must be weighed to ensure reliability and avoid unintended consequences.</a:t>
            </a:r>
          </a:p>
        </p:txBody>
      </p:sp>
      <p:pic>
        <p:nvPicPr>
          <p:cNvPr id="3074" name="Picture 2" descr="1GTwLCyb5V9DcAu6d2bwlZg">
            <a:extLst>
              <a:ext uri="{FF2B5EF4-FFF2-40B4-BE49-F238E27FC236}">
                <a16:creationId xmlns:a16="http://schemas.microsoft.com/office/drawing/2014/main" id="{EA197FB6-3CF1-9006-E02D-DE48E9A29E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418" y="1680154"/>
            <a:ext cx="7392670" cy="4462484"/>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39988BB4-06E3-6293-8A2D-0AB84F48D759}"/>
              </a:ext>
            </a:extLst>
          </p:cNvPr>
          <p:cNvSpPr txBox="1"/>
          <p:nvPr/>
        </p:nvSpPr>
        <p:spPr>
          <a:xfrm>
            <a:off x="4356418" y="6292334"/>
            <a:ext cx="6096000" cy="369332"/>
          </a:xfrm>
          <a:prstGeom prst="rect">
            <a:avLst/>
          </a:prstGeom>
          <a:noFill/>
        </p:spPr>
        <p:txBody>
          <a:bodyPr wrap="square">
            <a:spAutoFit/>
          </a:bodyPr>
          <a:lstStyle/>
          <a:p>
            <a:r>
              <a:rPr lang="en-US" dirty="0"/>
              <a:t>Link: </a:t>
            </a:r>
            <a:r>
              <a:rPr lang="en-US" dirty="0">
                <a:hlinkClick r:id="rId4"/>
              </a:rPr>
              <a:t>The Harsh Reality About AI Agents and Accuracy</a:t>
            </a:r>
            <a:endParaRPr lang="es-ES" dirty="0"/>
          </a:p>
        </p:txBody>
      </p:sp>
    </p:spTree>
    <p:extLst>
      <p:ext uri="{BB962C8B-B14F-4D97-AF65-F5344CB8AC3E}">
        <p14:creationId xmlns:p14="http://schemas.microsoft.com/office/powerpoint/2010/main" val="624714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FA987-3C17-5F5D-881E-E931DF391A4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BFFCA18-84D6-0749-58BB-D0C1278D0786}"/>
              </a:ext>
            </a:extLst>
          </p:cNvPr>
          <p:cNvSpPr>
            <a:spLocks noGrp="1"/>
          </p:cNvSpPr>
          <p:nvPr>
            <p:ph type="ctrTitle"/>
          </p:nvPr>
        </p:nvSpPr>
        <p:spPr>
          <a:xfrm>
            <a:off x="439259" y="939173"/>
            <a:ext cx="11309829" cy="740981"/>
          </a:xfrm>
        </p:spPr>
        <p:txBody>
          <a:bodyPr/>
          <a:lstStyle/>
          <a:p>
            <a:pPr algn="just"/>
            <a:r>
              <a:rPr lang="en-US" dirty="0"/>
              <a:t>3.1) AI agents' accuracy - Task-Dependent Accuracy</a:t>
            </a:r>
          </a:p>
        </p:txBody>
      </p:sp>
      <p:sp>
        <p:nvSpPr>
          <p:cNvPr id="6" name="Marcador de texto 4">
            <a:extLst>
              <a:ext uri="{FF2B5EF4-FFF2-40B4-BE49-F238E27FC236}">
                <a16:creationId xmlns:a16="http://schemas.microsoft.com/office/drawing/2014/main" id="{6FCD5F83-607D-3355-4699-C4DB5EDC461C}"/>
              </a:ext>
            </a:extLst>
          </p:cNvPr>
          <p:cNvSpPr txBox="1">
            <a:spLocks/>
          </p:cNvSpPr>
          <p:nvPr/>
        </p:nvSpPr>
        <p:spPr>
          <a:xfrm>
            <a:off x="439259" y="1595120"/>
            <a:ext cx="3706021" cy="446024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b="1" dirty="0">
                <a:latin typeface="+mn-lt"/>
              </a:rPr>
              <a:t>AI agents perform better on narrow, well-defined tasks </a:t>
            </a:r>
            <a:r>
              <a:rPr lang="en-US" sz="1800" dirty="0">
                <a:latin typeface="+mn-lt"/>
              </a:rPr>
              <a:t>and struggle with ambiguous or multi-step instructions.</a:t>
            </a:r>
          </a:p>
          <a:p>
            <a:pPr marL="285750" indent="-285750" algn="just">
              <a:buClr>
                <a:srgbClr val="C00000"/>
              </a:buClr>
              <a:buFont typeface="Wingdings" panose="05000000000000000000" pitchFamily="2" charset="2"/>
              <a:buChar char="§"/>
            </a:pPr>
            <a:r>
              <a:rPr lang="en-US" sz="1800" dirty="0">
                <a:latin typeface="+mn-lt"/>
              </a:rPr>
              <a:t>Tasks that require interpretation, reasoning or multiple sequential actions often expose limitations in the agent’s ability to maintain context and execute reliably.</a:t>
            </a:r>
          </a:p>
          <a:p>
            <a:pPr marL="285750" indent="-285750" algn="just">
              <a:buClr>
                <a:srgbClr val="C00000"/>
              </a:buClr>
              <a:buFont typeface="Wingdings" panose="05000000000000000000" pitchFamily="2" charset="2"/>
              <a:buChar char="§"/>
            </a:pPr>
            <a:r>
              <a:rPr lang="en-US" sz="1800" b="1" dirty="0">
                <a:latin typeface="+mn-lt"/>
              </a:rPr>
              <a:t>Even the best-performing agents benefit from human monitoring to ensure correctness and catch deviations.</a:t>
            </a:r>
          </a:p>
        </p:txBody>
      </p:sp>
      <p:pic>
        <p:nvPicPr>
          <p:cNvPr id="8194" name="Picture 2" descr="Agentes ">
            <a:extLst>
              <a:ext uri="{FF2B5EF4-FFF2-40B4-BE49-F238E27FC236}">
                <a16:creationId xmlns:a16="http://schemas.microsoft.com/office/drawing/2014/main" id="{2CEE3671-00D1-7A8C-6A82-F425D55DBBC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488" t="4262" r="9763" b="-237"/>
          <a:stretch/>
        </p:blipFill>
        <p:spPr bwMode="auto">
          <a:xfrm>
            <a:off x="4389119" y="1765934"/>
            <a:ext cx="7233921" cy="4839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2640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303EA-23E8-08C2-C7CB-8C770F5B98A9}"/>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BAAAA92-AE26-3CEE-8863-8A13A5957D37}"/>
              </a:ext>
            </a:extLst>
          </p:cNvPr>
          <p:cNvSpPr>
            <a:spLocks noGrp="1"/>
          </p:cNvSpPr>
          <p:nvPr>
            <p:ph type="ctrTitle"/>
          </p:nvPr>
        </p:nvSpPr>
        <p:spPr>
          <a:xfrm>
            <a:off x="439259" y="939173"/>
            <a:ext cx="11309829" cy="740981"/>
          </a:xfrm>
        </p:spPr>
        <p:txBody>
          <a:bodyPr/>
          <a:lstStyle/>
          <a:p>
            <a:pPr algn="just"/>
            <a:r>
              <a:rPr lang="en-US" dirty="0"/>
              <a:t>3.1) AI agents' accuracy - Cost vs. Accuracy Tradeoff</a:t>
            </a:r>
          </a:p>
        </p:txBody>
      </p:sp>
      <p:sp>
        <p:nvSpPr>
          <p:cNvPr id="6" name="Marcador de texto 4">
            <a:extLst>
              <a:ext uri="{FF2B5EF4-FFF2-40B4-BE49-F238E27FC236}">
                <a16:creationId xmlns:a16="http://schemas.microsoft.com/office/drawing/2014/main" id="{37E37226-D4FE-2646-B352-799C940F8112}"/>
              </a:ext>
            </a:extLst>
          </p:cNvPr>
          <p:cNvSpPr txBox="1">
            <a:spLocks/>
          </p:cNvSpPr>
          <p:nvPr/>
        </p:nvSpPr>
        <p:spPr>
          <a:xfrm>
            <a:off x="439259" y="1595120"/>
            <a:ext cx="3706021" cy="446024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dirty="0">
                <a:latin typeface="+mn-lt"/>
              </a:rPr>
              <a:t>Improved accuracy often requires significantly more compute and time, increasing operational costs.</a:t>
            </a:r>
          </a:p>
          <a:p>
            <a:pPr marL="285750" indent="-285750" algn="just">
              <a:buClr>
                <a:srgbClr val="C00000"/>
              </a:buClr>
              <a:buFont typeface="Wingdings" panose="05000000000000000000" pitchFamily="2" charset="2"/>
              <a:buChar char="§"/>
            </a:pPr>
            <a:r>
              <a:rPr lang="en-US" sz="1800" dirty="0">
                <a:latin typeface="+mn-lt"/>
              </a:rPr>
              <a:t>Organizations must weight the business value of precision against resource constraints — especially relevant when scaling up agent-driven solutions.</a:t>
            </a:r>
          </a:p>
        </p:txBody>
      </p:sp>
      <p:pic>
        <p:nvPicPr>
          <p:cNvPr id="7170" name="Picture 2" descr="image 12">
            <a:extLst>
              <a:ext uri="{FF2B5EF4-FFF2-40B4-BE49-F238E27FC236}">
                <a16:creationId xmlns:a16="http://schemas.microsoft.com/office/drawing/2014/main" id="{37C9A544-C774-4E92-D8C4-3A9BA61EBD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702" y="1335265"/>
            <a:ext cx="7496386" cy="4926824"/>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C9C33C91-68BD-CC5F-6C25-5DA264F5838A}"/>
              </a:ext>
            </a:extLst>
          </p:cNvPr>
          <p:cNvSpPr txBox="1"/>
          <p:nvPr/>
        </p:nvSpPr>
        <p:spPr>
          <a:xfrm>
            <a:off x="439260" y="4208308"/>
            <a:ext cx="3688612" cy="2308324"/>
          </a:xfrm>
          <a:prstGeom prst="rect">
            <a:avLst/>
          </a:prstGeom>
          <a:solidFill>
            <a:srgbClr val="C00000"/>
          </a:solidFill>
        </p:spPr>
        <p:txBody>
          <a:bodyPr wrap="square">
            <a:spAutoFit/>
          </a:bodyPr>
          <a:lstStyle/>
          <a:p>
            <a:pPr algn="just"/>
            <a:r>
              <a:rPr lang="en-US" dirty="0">
                <a:solidFill>
                  <a:schemeClr val="bg1"/>
                </a:solidFill>
                <a:latin typeface="Santander Text" panose="020B0504020201020104" pitchFamily="34" charset="0"/>
              </a:rPr>
              <a:t>The graph suggests that AI is generally more cost-effective than humans for shorter tasks, but as task duration increases, the cost advantage of AI decreases, with costs being more comparable for tasks that take several hours or an entire day.</a:t>
            </a:r>
            <a:endParaRPr lang="es-ES" dirty="0">
              <a:solidFill>
                <a:schemeClr val="bg1"/>
              </a:solidFill>
              <a:latin typeface="Santander Text" panose="020B0504020201020104" pitchFamily="34" charset="0"/>
            </a:endParaRPr>
          </a:p>
        </p:txBody>
      </p:sp>
    </p:spTree>
    <p:extLst>
      <p:ext uri="{BB962C8B-B14F-4D97-AF65-F5344CB8AC3E}">
        <p14:creationId xmlns:p14="http://schemas.microsoft.com/office/powerpoint/2010/main" val="2680299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65910-B728-6104-E67A-FDFD064A37E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EC62C0A-F689-83FD-AC19-FFB9152B72D7}"/>
              </a:ext>
            </a:extLst>
          </p:cNvPr>
          <p:cNvSpPr>
            <a:spLocks noGrp="1"/>
          </p:cNvSpPr>
          <p:nvPr>
            <p:ph type="ctrTitle"/>
          </p:nvPr>
        </p:nvSpPr>
        <p:spPr>
          <a:xfrm>
            <a:off x="439259" y="939173"/>
            <a:ext cx="11309829" cy="740981"/>
          </a:xfrm>
        </p:spPr>
        <p:txBody>
          <a:bodyPr/>
          <a:lstStyle/>
          <a:p>
            <a:pPr algn="just"/>
            <a:r>
              <a:rPr lang="en-US" dirty="0"/>
              <a:t>3.1) AI agents' accuracy - Rapid Innovation Meets Practical Limits</a:t>
            </a:r>
          </a:p>
        </p:txBody>
      </p:sp>
      <p:sp>
        <p:nvSpPr>
          <p:cNvPr id="6" name="Marcador de texto 4">
            <a:extLst>
              <a:ext uri="{FF2B5EF4-FFF2-40B4-BE49-F238E27FC236}">
                <a16:creationId xmlns:a16="http://schemas.microsoft.com/office/drawing/2014/main" id="{722CF754-E136-EDFA-50DC-14E693C76995}"/>
              </a:ext>
            </a:extLst>
          </p:cNvPr>
          <p:cNvSpPr txBox="1">
            <a:spLocks/>
          </p:cNvSpPr>
          <p:nvPr/>
        </p:nvSpPr>
        <p:spPr>
          <a:xfrm>
            <a:off x="439259" y="1595120"/>
            <a:ext cx="3706021" cy="446024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dirty="0">
                <a:latin typeface="+mn-lt"/>
              </a:rPr>
              <a:t>Technology is advancing fast, but current agents still face limitations in accuracy, autonomy, and robustness.</a:t>
            </a:r>
          </a:p>
          <a:p>
            <a:pPr marL="285750" indent="-285750" algn="just">
              <a:buClr>
                <a:srgbClr val="C00000"/>
              </a:buClr>
              <a:buFont typeface="Wingdings" panose="05000000000000000000" pitchFamily="2" charset="2"/>
              <a:buChar char="§"/>
            </a:pPr>
            <a:r>
              <a:rPr lang="en-US" sz="1800" dirty="0">
                <a:latin typeface="+mn-lt"/>
              </a:rPr>
              <a:t>Complex workflows require memory, adaptive reasoning, and error recovery — areas where current AI agents still fall short under real-world conditions.</a:t>
            </a:r>
          </a:p>
          <a:p>
            <a:pPr marL="285750" indent="-285750" algn="just">
              <a:buClr>
                <a:srgbClr val="C00000"/>
              </a:buClr>
              <a:buFont typeface="Wingdings" panose="05000000000000000000" pitchFamily="2" charset="2"/>
              <a:buChar char="§"/>
            </a:pPr>
            <a:endParaRPr lang="en-US" sz="1800" b="1" dirty="0">
              <a:latin typeface="+mn-lt"/>
            </a:endParaRPr>
          </a:p>
        </p:txBody>
      </p:sp>
      <p:pic>
        <p:nvPicPr>
          <p:cNvPr id="6146" name="Picture 2" descr="image 13">
            <a:extLst>
              <a:ext uri="{FF2B5EF4-FFF2-40B4-BE49-F238E27FC236}">
                <a16:creationId xmlns:a16="http://schemas.microsoft.com/office/drawing/2014/main" id="{D1635336-2A4D-3A56-ACAA-94A5C4E63F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036" r="5647"/>
          <a:stretch/>
        </p:blipFill>
        <p:spPr bwMode="auto">
          <a:xfrm>
            <a:off x="4348480" y="1398907"/>
            <a:ext cx="7691120" cy="5194608"/>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549A8274-79B5-4B7E-14E8-8B1619E88588}"/>
              </a:ext>
            </a:extLst>
          </p:cNvPr>
          <p:cNvSpPr txBox="1"/>
          <p:nvPr/>
        </p:nvSpPr>
        <p:spPr>
          <a:xfrm>
            <a:off x="439259" y="4369065"/>
            <a:ext cx="3706021" cy="1200329"/>
          </a:xfrm>
          <a:prstGeom prst="rect">
            <a:avLst/>
          </a:prstGeom>
          <a:solidFill>
            <a:srgbClr val="C00000"/>
          </a:solidFill>
        </p:spPr>
        <p:txBody>
          <a:bodyPr wrap="square">
            <a:spAutoFit/>
          </a:bodyPr>
          <a:lstStyle/>
          <a:p>
            <a:pPr algn="just"/>
            <a:r>
              <a:rPr lang="en-US" dirty="0">
                <a:solidFill>
                  <a:schemeClr val="bg1"/>
                </a:solidFill>
                <a:latin typeface="Santander Text" panose="020B0504020201020104" pitchFamily="34" charset="0"/>
              </a:rPr>
              <a:t>While the pace of improvement is encouraging, organizations must temper expectations and adopt agents gradually and strategically.</a:t>
            </a:r>
            <a:endParaRPr lang="es-ES" dirty="0">
              <a:solidFill>
                <a:schemeClr val="bg1"/>
              </a:solidFill>
              <a:latin typeface="Santander Text" panose="020B0504020201020104" pitchFamily="34" charset="0"/>
            </a:endParaRPr>
          </a:p>
        </p:txBody>
      </p:sp>
    </p:spTree>
    <p:extLst>
      <p:ext uri="{BB962C8B-B14F-4D97-AF65-F5344CB8AC3E}">
        <p14:creationId xmlns:p14="http://schemas.microsoft.com/office/powerpoint/2010/main" val="1307132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F9C14-9A55-978F-66EF-5E82BCBD150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6F95705-6917-1727-A0C6-327AA67DDC36}"/>
              </a:ext>
            </a:extLst>
          </p:cNvPr>
          <p:cNvSpPr>
            <a:spLocks noGrp="1"/>
          </p:cNvSpPr>
          <p:nvPr>
            <p:ph type="ctrTitle"/>
          </p:nvPr>
        </p:nvSpPr>
        <p:spPr>
          <a:xfrm>
            <a:off x="439259" y="939173"/>
            <a:ext cx="11309829" cy="740981"/>
          </a:xfrm>
        </p:spPr>
        <p:txBody>
          <a:bodyPr/>
          <a:lstStyle/>
          <a:p>
            <a:pPr algn="just"/>
            <a:r>
              <a:rPr lang="en-US" dirty="0"/>
              <a:t>4) Takeaways (I)</a:t>
            </a:r>
          </a:p>
        </p:txBody>
      </p:sp>
      <p:sp>
        <p:nvSpPr>
          <p:cNvPr id="6" name="Marcador de texto 4">
            <a:extLst>
              <a:ext uri="{FF2B5EF4-FFF2-40B4-BE49-F238E27FC236}">
                <a16:creationId xmlns:a16="http://schemas.microsoft.com/office/drawing/2014/main" id="{280A4E55-B5B6-7FBE-ABE3-03B386534805}"/>
              </a:ext>
            </a:extLst>
          </p:cNvPr>
          <p:cNvSpPr txBox="1">
            <a:spLocks/>
          </p:cNvSpPr>
          <p:nvPr/>
        </p:nvSpPr>
        <p:spPr>
          <a:xfrm>
            <a:off x="439259" y="1508034"/>
            <a:ext cx="11309829" cy="497078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General discussions</a:t>
            </a:r>
            <a:endParaRPr lang="en-US" sz="1800" dirty="0">
              <a:latin typeface="+mn-lt"/>
            </a:endParaRPr>
          </a:p>
          <a:p>
            <a:pPr marL="285750" indent="-285750" algn="just">
              <a:buClr>
                <a:srgbClr val="C00000"/>
              </a:buClr>
              <a:buFont typeface="Wingdings" panose="05000000000000000000" pitchFamily="2" charset="2"/>
              <a:buChar char="§"/>
            </a:pPr>
            <a:r>
              <a:rPr lang="en-US" sz="1800" dirty="0">
                <a:latin typeface="+mn-lt"/>
              </a:rPr>
              <a:t>Reasoning models, while powerful, significantly increase processing costs—especially when prompts are complex or involve multiple tasks.</a:t>
            </a:r>
          </a:p>
          <a:p>
            <a:pPr marL="285750" indent="-285750" algn="just">
              <a:buClr>
                <a:srgbClr val="C00000"/>
              </a:buClr>
              <a:buFont typeface="Wingdings" panose="05000000000000000000" pitchFamily="2" charset="2"/>
              <a:buChar char="§"/>
            </a:pPr>
            <a:r>
              <a:rPr lang="en-US" sz="1800" dirty="0">
                <a:latin typeface="+mn-lt"/>
              </a:rPr>
              <a:t>It should be considered the trade-off between using advanced agents and the efficiency of human execution for complex tasks, noting that humans often still outperform AI in such scenarios.</a:t>
            </a:r>
          </a:p>
          <a:p>
            <a:pPr marL="285750" indent="-285750" algn="just">
              <a:buClr>
                <a:srgbClr val="C00000"/>
              </a:buClr>
              <a:buFont typeface="Wingdings" panose="05000000000000000000" pitchFamily="2" charset="2"/>
              <a:buChar char="§"/>
            </a:pPr>
            <a:r>
              <a:rPr lang="en-US" sz="1800" dirty="0">
                <a:latin typeface="+mn-lt"/>
              </a:rPr>
              <a:t>Open-source nature offers freedom from vendor lock-in but raises implementation challenges:</a:t>
            </a:r>
          </a:p>
          <a:p>
            <a:pPr marL="657225" lvl="1" indent="-285750" algn="just">
              <a:buClr>
                <a:srgbClr val="C00000"/>
              </a:buClr>
              <a:buFont typeface="Courier New" panose="02070309020205020404" pitchFamily="49" charset="0"/>
              <a:buChar char="o"/>
            </a:pPr>
            <a:r>
              <a:rPr lang="en-US" sz="1800" dirty="0">
                <a:latin typeface="+mn-lt"/>
              </a:rPr>
              <a:t>Computational demand exceeds SAM’s internal capabilities.</a:t>
            </a:r>
          </a:p>
          <a:p>
            <a:pPr marL="657225" lvl="1" indent="-285750" algn="just">
              <a:buClr>
                <a:srgbClr val="C00000"/>
              </a:buClr>
              <a:buFont typeface="Courier New" panose="02070309020205020404" pitchFamily="49" charset="0"/>
              <a:buChar char="o"/>
            </a:pPr>
            <a:r>
              <a:rPr lang="en-US" sz="1800" dirty="0">
                <a:latin typeface="+mn-lt"/>
              </a:rPr>
              <a:t>Quantized versions pose cybersecurity risks if not vetted by official providers.</a:t>
            </a:r>
          </a:p>
          <a:p>
            <a:pPr marL="285750" indent="-285750" algn="just">
              <a:buClr>
                <a:srgbClr val="C00000"/>
              </a:buClr>
              <a:buFont typeface="Wingdings" panose="05000000000000000000" pitchFamily="2" charset="2"/>
              <a:buChar char="§"/>
            </a:pPr>
            <a:r>
              <a:rPr lang="en-US" sz="1800" dirty="0">
                <a:latin typeface="+mn-lt"/>
              </a:rPr>
              <a:t>Interest in using models like Mistral, but access and trust issues remain unresolved.</a:t>
            </a:r>
          </a:p>
          <a:p>
            <a:pPr algn="just">
              <a:buClr>
                <a:srgbClr val="C00000"/>
              </a:buClr>
            </a:pPr>
            <a:r>
              <a:rPr lang="en-US" sz="1800" b="1" dirty="0">
                <a:latin typeface="+mn-lt"/>
              </a:rPr>
              <a:t>Skills and Training Needs</a:t>
            </a:r>
          </a:p>
          <a:p>
            <a:pPr marL="285750" indent="-285750" algn="just">
              <a:buClr>
                <a:srgbClr val="C00000"/>
              </a:buClr>
              <a:buFont typeface="Wingdings" panose="05000000000000000000" pitchFamily="2" charset="2"/>
              <a:buChar char="§"/>
            </a:pPr>
            <a:r>
              <a:rPr lang="en-US" sz="1800" dirty="0">
                <a:latin typeface="+mn-lt"/>
              </a:rPr>
              <a:t>Call for internal training and knowledge-sharing about prompt engineering best practices. </a:t>
            </a:r>
            <a:r>
              <a:rPr lang="en-US" sz="1800" dirty="0">
                <a:latin typeface="+mn-lt"/>
                <a:sym typeface="Wingdings" panose="05000000000000000000" pitchFamily="2" charset="2"/>
              </a:rPr>
              <a:t> </a:t>
            </a:r>
            <a:r>
              <a:rPr lang="en-US" sz="1800" b="1" dirty="0">
                <a:solidFill>
                  <a:srgbClr val="C00000"/>
                </a:solidFill>
                <a:latin typeface="+mn-lt"/>
                <a:sym typeface="Wingdings" panose="05000000000000000000" pitchFamily="2" charset="2"/>
              </a:rPr>
              <a:t>Next Step: We will circulate for the next session technical resources and frameworks to align skill levels across regions.</a:t>
            </a:r>
            <a:endParaRPr lang="en-US" sz="1800" b="1" dirty="0">
              <a:solidFill>
                <a:srgbClr val="C00000"/>
              </a:solidFill>
              <a:latin typeface="+mn-lt"/>
            </a:endParaRPr>
          </a:p>
          <a:p>
            <a:pPr algn="just">
              <a:buClr>
                <a:srgbClr val="C00000"/>
              </a:buClr>
            </a:pPr>
            <a:r>
              <a:rPr lang="en-US" sz="1800" b="1" dirty="0">
                <a:latin typeface="+mn-lt"/>
              </a:rPr>
              <a:t>Infrastructure Challenges</a:t>
            </a:r>
          </a:p>
          <a:p>
            <a:pPr marL="285750" indent="-285750" algn="just">
              <a:buClr>
                <a:srgbClr val="C00000"/>
              </a:buClr>
              <a:buFont typeface="Wingdings" panose="05000000000000000000" pitchFamily="2" charset="2"/>
              <a:buChar char="§"/>
            </a:pPr>
            <a:r>
              <a:rPr lang="en-US" sz="1800" dirty="0">
                <a:latin typeface="+mn-lt"/>
              </a:rPr>
              <a:t>Include in the perimeter of the Global Data Platform (GDP) a vector database.</a:t>
            </a:r>
          </a:p>
          <a:p>
            <a:pPr marL="285750" indent="-285750" algn="just">
              <a:buClr>
                <a:srgbClr val="C00000"/>
              </a:buClr>
              <a:buFont typeface="Wingdings" panose="05000000000000000000" pitchFamily="2" charset="2"/>
              <a:buChar char="§"/>
            </a:pPr>
            <a:r>
              <a:rPr lang="en-US" sz="1800" dirty="0">
                <a:latin typeface="+mn-lt"/>
              </a:rPr>
              <a:t>Desire to build or gain access to GDP.</a:t>
            </a:r>
          </a:p>
          <a:p>
            <a:pPr algn="just">
              <a:buClr>
                <a:srgbClr val="C00000"/>
              </a:buClr>
            </a:pPr>
            <a:endParaRPr lang="en-US" sz="1800" dirty="0">
              <a:latin typeface="+mn-lt"/>
            </a:endParaRPr>
          </a:p>
        </p:txBody>
      </p:sp>
    </p:spTree>
    <p:extLst>
      <p:ext uri="{BB962C8B-B14F-4D97-AF65-F5344CB8AC3E}">
        <p14:creationId xmlns:p14="http://schemas.microsoft.com/office/powerpoint/2010/main" val="25232281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8C4A5-CF58-E642-78C1-92306EFD43F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E7BF7C2-088F-9C37-C263-A28AE238DE78}"/>
              </a:ext>
            </a:extLst>
          </p:cNvPr>
          <p:cNvSpPr>
            <a:spLocks noGrp="1"/>
          </p:cNvSpPr>
          <p:nvPr>
            <p:ph type="ctrTitle"/>
          </p:nvPr>
        </p:nvSpPr>
        <p:spPr>
          <a:xfrm>
            <a:off x="439259" y="939173"/>
            <a:ext cx="11309829" cy="740981"/>
          </a:xfrm>
        </p:spPr>
        <p:txBody>
          <a:bodyPr/>
          <a:lstStyle/>
          <a:p>
            <a:pPr algn="just"/>
            <a:r>
              <a:rPr lang="en-US" dirty="0"/>
              <a:t>4) Takeaways (II)</a:t>
            </a:r>
          </a:p>
        </p:txBody>
      </p:sp>
      <p:sp>
        <p:nvSpPr>
          <p:cNvPr id="8" name="Marcador de texto 4">
            <a:extLst>
              <a:ext uri="{FF2B5EF4-FFF2-40B4-BE49-F238E27FC236}">
                <a16:creationId xmlns:a16="http://schemas.microsoft.com/office/drawing/2014/main" id="{53AF77B8-5CBB-FC47-ED7C-D3C36F3FEEC4}"/>
              </a:ext>
            </a:extLst>
          </p:cNvPr>
          <p:cNvSpPr txBox="1">
            <a:spLocks/>
          </p:cNvSpPr>
          <p:nvPr/>
        </p:nvSpPr>
        <p:spPr>
          <a:xfrm>
            <a:off x="439259" y="1508034"/>
            <a:ext cx="11309829" cy="497078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AI Use Cases from Participants</a:t>
            </a:r>
          </a:p>
          <a:p>
            <a:pPr marL="285750" indent="-285750" algn="just">
              <a:buClr>
                <a:srgbClr val="C00000"/>
              </a:buClr>
              <a:buFont typeface="Wingdings" panose="05000000000000000000" pitchFamily="2" charset="2"/>
              <a:buChar char="§"/>
            </a:pPr>
            <a:r>
              <a:rPr lang="en-US" sz="1800" dirty="0">
                <a:latin typeface="+mn-lt"/>
              </a:rPr>
              <a:t>Research Processing (</a:t>
            </a:r>
            <a:r>
              <a:rPr lang="en-US" sz="1800" b="1" dirty="0">
                <a:latin typeface="+mn-lt"/>
              </a:rPr>
              <a:t>Mauro Vazquez</a:t>
            </a:r>
            <a:r>
              <a:rPr lang="en-US" sz="1800" dirty="0">
                <a:latin typeface="+mn-lt"/>
              </a:rPr>
              <a:t>): Rapid analysis of third-party research.</a:t>
            </a:r>
          </a:p>
          <a:p>
            <a:pPr marL="285750" indent="-285750" algn="just">
              <a:buClr>
                <a:srgbClr val="C00000"/>
              </a:buClr>
              <a:buFont typeface="Wingdings" panose="05000000000000000000" pitchFamily="2" charset="2"/>
              <a:buChar char="§"/>
            </a:pPr>
            <a:r>
              <a:rPr lang="en-US" sz="1800" dirty="0">
                <a:latin typeface="+mn-lt"/>
              </a:rPr>
              <a:t>Narrative Structuring (</a:t>
            </a:r>
            <a:r>
              <a:rPr lang="en-US" sz="1800" b="1" dirty="0">
                <a:latin typeface="+mn-lt"/>
              </a:rPr>
              <a:t>Tom Newman</a:t>
            </a:r>
            <a:r>
              <a:rPr lang="en-US" sz="1800" dirty="0">
                <a:latin typeface="+mn-lt"/>
              </a:rPr>
              <a:t>): Use of custom AI to synthesize macroeconomic and geopolitical information, creating narrative frameworks akin to expert economists. Tom sees this kind of model as an aspirational benchmark for SAM's AI development efforts.</a:t>
            </a:r>
          </a:p>
          <a:p>
            <a:pPr marL="285750" indent="-285750" algn="just">
              <a:buClr>
                <a:srgbClr val="C00000"/>
              </a:buClr>
              <a:buFont typeface="Wingdings" panose="05000000000000000000" pitchFamily="2" charset="2"/>
              <a:buChar char="§"/>
            </a:pPr>
            <a:r>
              <a:rPr lang="en-US" sz="1800" b="1" dirty="0">
                <a:latin typeface="+mn-lt"/>
              </a:rPr>
              <a:t>Guillermo Mestre </a:t>
            </a:r>
            <a:r>
              <a:rPr lang="en-US" sz="1800" dirty="0">
                <a:latin typeface="+mn-lt"/>
              </a:rPr>
              <a:t>emphasized the potential value of open-source LLMs, noting they provide an affordable and flexible opportunity to experiment with powerful models without relying on costly commercial providers. However, he highlighted technical limitations, stating that models with hundreds of billions of parameters may exceed the computational capacity of SAM’s infrastructure.</a:t>
            </a:r>
          </a:p>
          <a:p>
            <a:pPr marL="285750" indent="-285750" algn="just">
              <a:buClr>
                <a:srgbClr val="C00000"/>
              </a:buClr>
              <a:buFont typeface="Wingdings" panose="05000000000000000000" pitchFamily="2" charset="2"/>
              <a:buChar char="§"/>
            </a:pPr>
            <a:r>
              <a:rPr lang="en-US" sz="1800" b="1" dirty="0">
                <a:latin typeface="+mn-lt"/>
              </a:rPr>
              <a:t>Miguel Costa </a:t>
            </a:r>
            <a:r>
              <a:rPr lang="en-US" sz="1800" dirty="0">
                <a:latin typeface="+mn-lt"/>
              </a:rPr>
              <a:t>presented a use case centered on improving the productivity of portfolio managers by automating the explanation of complex portfolio construction processes. He envisions an AI agent tailored to digest strategic asset allocation (SAA), client constraints, and tactical signals to generate narratives that can be presented to clients. </a:t>
            </a:r>
          </a:p>
          <a:p>
            <a:pPr marL="285750" indent="-285750" algn="just">
              <a:buClr>
                <a:srgbClr val="C00000"/>
              </a:buClr>
              <a:buFont typeface="Wingdings" panose="05000000000000000000" pitchFamily="2" charset="2"/>
              <a:buChar char="§"/>
            </a:pPr>
            <a:r>
              <a:rPr lang="en-US" sz="1800" dirty="0">
                <a:latin typeface="+mn-lt"/>
              </a:rPr>
              <a:t>Investment Insights (</a:t>
            </a:r>
            <a:r>
              <a:rPr lang="en-US" sz="1800" b="1" dirty="0">
                <a:latin typeface="+mn-lt"/>
              </a:rPr>
              <a:t>Lucas Gragnani</a:t>
            </a:r>
            <a:r>
              <a:rPr lang="en-US" sz="1800" dirty="0">
                <a:latin typeface="+mn-lt"/>
              </a:rPr>
              <a:t>): His team has developed GPTs for equity stock selection, earnings analysis, and initiation research in Brazil.</a:t>
            </a:r>
          </a:p>
        </p:txBody>
      </p:sp>
      <p:sp>
        <p:nvSpPr>
          <p:cNvPr id="3" name="Marcador de texto 4">
            <a:extLst>
              <a:ext uri="{FF2B5EF4-FFF2-40B4-BE49-F238E27FC236}">
                <a16:creationId xmlns:a16="http://schemas.microsoft.com/office/drawing/2014/main" id="{6D59EFB5-4CA9-3056-229F-344D0E179217}"/>
              </a:ext>
            </a:extLst>
          </p:cNvPr>
          <p:cNvSpPr txBox="1">
            <a:spLocks/>
          </p:cNvSpPr>
          <p:nvPr/>
        </p:nvSpPr>
        <p:spPr>
          <a:xfrm>
            <a:off x="439260" y="6065519"/>
            <a:ext cx="11309828" cy="503184"/>
          </a:xfrm>
          <a:prstGeom prst="rect">
            <a:avLst/>
          </a:prstGeom>
          <a:solidFill>
            <a:srgbClr val="C00000"/>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800" b="1" dirty="0">
                <a:solidFill>
                  <a:schemeClr val="bg1"/>
                </a:solidFill>
                <a:latin typeface="+mn-lt"/>
              </a:rPr>
              <a:t>Next Step: </a:t>
            </a:r>
            <a:r>
              <a:rPr lang="en-US" sz="1800" dirty="0">
                <a:solidFill>
                  <a:schemeClr val="bg1"/>
                </a:solidFill>
                <a:latin typeface="+mn-lt"/>
              </a:rPr>
              <a:t>Gather and present compelling, differentiated use cases in next session.</a:t>
            </a:r>
          </a:p>
        </p:txBody>
      </p:sp>
    </p:spTree>
    <p:extLst>
      <p:ext uri="{BB962C8B-B14F-4D97-AF65-F5344CB8AC3E}">
        <p14:creationId xmlns:p14="http://schemas.microsoft.com/office/powerpoint/2010/main" val="3043515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C498B3-4BF2-E73F-61A1-A9D92BF96060}"/>
              </a:ext>
            </a:extLst>
          </p:cNvPr>
          <p:cNvSpPr>
            <a:spLocks noGrp="1"/>
          </p:cNvSpPr>
          <p:nvPr>
            <p:ph type="body" sz="quarter" idx="49"/>
          </p:nvPr>
        </p:nvSpPr>
        <p:spPr/>
        <p:txBody>
          <a:bodyPr/>
          <a:lstStyle/>
          <a:p>
            <a:r>
              <a:rPr lang="en-US"/>
              <a:t>Thank you</a:t>
            </a:r>
          </a:p>
        </p:txBody>
      </p:sp>
      <p:sp>
        <p:nvSpPr>
          <p:cNvPr id="3" name="Text Placeholder 2">
            <a:extLst>
              <a:ext uri="{FF2B5EF4-FFF2-40B4-BE49-F238E27FC236}">
                <a16:creationId xmlns:a16="http://schemas.microsoft.com/office/drawing/2014/main" id="{3B1AB47A-DE23-85CC-99F4-05D43026BAC9}"/>
              </a:ext>
            </a:extLst>
          </p:cNvPr>
          <p:cNvSpPr>
            <a:spLocks noGrp="1"/>
          </p:cNvSpPr>
          <p:nvPr>
            <p:ph type="body" sz="quarter" idx="50"/>
          </p:nvPr>
        </p:nvSpPr>
        <p:spPr/>
        <p:txBody>
          <a:bodyPr/>
          <a:lstStyle/>
          <a:p>
            <a:r>
              <a:rPr lang="es-ES" dirty="0"/>
              <a:t>Gracias</a:t>
            </a:r>
          </a:p>
        </p:txBody>
      </p:sp>
    </p:spTree>
    <p:extLst>
      <p:ext uri="{BB962C8B-B14F-4D97-AF65-F5344CB8AC3E}">
        <p14:creationId xmlns:p14="http://schemas.microsoft.com/office/powerpoint/2010/main" val="3682512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95394-5604-3A30-5B7A-8A44B11B3A26}"/>
            </a:ext>
          </a:extLst>
        </p:cNvPr>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B0BF2DC9-A5E8-256B-89B8-47048BF7962E}"/>
              </a:ext>
            </a:extLst>
          </p:cNvPr>
          <p:cNvSpPr>
            <a:spLocks noGrp="1"/>
          </p:cNvSpPr>
          <p:nvPr>
            <p:ph type="sldNum" sz="quarter" idx="4"/>
          </p:nvPr>
        </p:nvSpPr>
        <p:spPr/>
        <p:txBody>
          <a:bodyPr/>
          <a:lstStyle/>
          <a:p>
            <a:pPr marL="107314">
              <a:spcBef>
                <a:spcPts val="204"/>
              </a:spcBef>
            </a:pPr>
            <a:fld id="{81D60167-4931-47E6-BA6A-407CBD079E47}" type="slidenum">
              <a:rPr lang="es-ES" smtClean="0"/>
              <a:pPr marL="107314">
                <a:spcBef>
                  <a:spcPts val="204"/>
                </a:spcBef>
              </a:pPr>
              <a:t>2</a:t>
            </a:fld>
            <a:endParaRPr lang="es-ES" dirty="0"/>
          </a:p>
        </p:txBody>
      </p:sp>
      <p:pic>
        <p:nvPicPr>
          <p:cNvPr id="4" name="Imagen 3" descr="Persona en bicicleta en la calle&#10;&#10;Descripción generada automáticamente">
            <a:extLst>
              <a:ext uri="{FF2B5EF4-FFF2-40B4-BE49-F238E27FC236}">
                <a16:creationId xmlns:a16="http://schemas.microsoft.com/office/drawing/2014/main" id="{F2082253-BF57-CDC8-3CB9-EB547D6FE53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965371" y="845991"/>
            <a:ext cx="6226630" cy="6012009"/>
          </a:xfrm>
          <a:prstGeom prst="rect">
            <a:avLst/>
          </a:prstGeom>
        </p:spPr>
      </p:pic>
      <p:cxnSp>
        <p:nvCxnSpPr>
          <p:cNvPr id="5" name="Conector recto 4">
            <a:extLst>
              <a:ext uri="{FF2B5EF4-FFF2-40B4-BE49-F238E27FC236}">
                <a16:creationId xmlns:a16="http://schemas.microsoft.com/office/drawing/2014/main" id="{8D012857-B333-C97F-C296-F449DA4A0F04}"/>
              </a:ext>
            </a:extLst>
          </p:cNvPr>
          <p:cNvCxnSpPr>
            <a:cxnSpLocks/>
          </p:cNvCxnSpPr>
          <p:nvPr/>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80D29698-532B-BBFC-D784-098B875DEA05}"/>
              </a:ext>
            </a:extLst>
          </p:cNvPr>
          <p:cNvCxnSpPr>
            <a:cxnSpLocks/>
          </p:cNvCxnSpPr>
          <p:nvPr/>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155B69C2-82DA-4AA2-CE3D-92B1168C4913}"/>
              </a:ext>
            </a:extLst>
          </p:cNvPr>
          <p:cNvSpPr txBox="1">
            <a:spLocks/>
          </p:cNvSpPr>
          <p:nvPr/>
        </p:nvSpPr>
        <p:spPr>
          <a:xfrm>
            <a:off x="369094" y="1184650"/>
            <a:ext cx="10710384" cy="859303"/>
          </a:xfr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buFont typeface="Arial" panose="020B0604020202020204" pitchFamily="34" charset="0"/>
              <a:buNone/>
            </a:pPr>
            <a:r>
              <a:rPr lang="en-US" sz="4400" dirty="0">
                <a:solidFill>
                  <a:schemeClr val="accent2"/>
                </a:solidFill>
                <a:latin typeface="Santander Headline" panose="020B0504020201020104" pitchFamily="34" charset="0"/>
                <a:ea typeface="+mj-ea"/>
              </a:rPr>
              <a:t>Index</a:t>
            </a:r>
          </a:p>
        </p:txBody>
      </p:sp>
      <p:sp>
        <p:nvSpPr>
          <p:cNvPr id="8" name="Text Placeholder 2">
            <a:extLst>
              <a:ext uri="{FF2B5EF4-FFF2-40B4-BE49-F238E27FC236}">
                <a16:creationId xmlns:a16="http://schemas.microsoft.com/office/drawing/2014/main" id="{B653FEEB-5B1B-5220-1426-D789485673FE}"/>
              </a:ext>
            </a:extLst>
          </p:cNvPr>
          <p:cNvSpPr txBox="1">
            <a:spLocks/>
          </p:cNvSpPr>
          <p:nvPr/>
        </p:nvSpPr>
        <p:spPr>
          <a:xfrm>
            <a:off x="423863" y="1987247"/>
            <a:ext cx="5138082" cy="4488700"/>
          </a:xfr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lnSpc>
                <a:spcPct val="150000"/>
              </a:lnSpc>
              <a:buClr>
                <a:srgbClr val="C00000"/>
              </a:buClr>
              <a:buNone/>
            </a:pPr>
            <a:r>
              <a:rPr lang="en-US" sz="1600" b="1" dirty="0">
                <a:solidFill>
                  <a:srgbClr val="C00000"/>
                </a:solidFill>
              </a:rPr>
              <a:t>1) </a:t>
            </a:r>
            <a:r>
              <a:rPr lang="en-US" sz="1600" b="1" dirty="0"/>
              <a:t>Survey</a:t>
            </a:r>
          </a:p>
          <a:p>
            <a:pPr marL="0" indent="0">
              <a:lnSpc>
                <a:spcPct val="150000"/>
              </a:lnSpc>
              <a:buClr>
                <a:srgbClr val="C00000"/>
              </a:buClr>
              <a:buNone/>
            </a:pPr>
            <a:r>
              <a:rPr lang="en-US" sz="1600" b="1" dirty="0">
                <a:solidFill>
                  <a:srgbClr val="C00000"/>
                </a:solidFill>
              </a:rPr>
              <a:t>2) </a:t>
            </a:r>
            <a:r>
              <a:rPr lang="en-US" sz="1600" b="1" dirty="0"/>
              <a:t>Recent updates in AI</a:t>
            </a:r>
          </a:p>
          <a:p>
            <a:pPr marL="0" indent="0">
              <a:lnSpc>
                <a:spcPct val="150000"/>
              </a:lnSpc>
              <a:buClr>
                <a:srgbClr val="C00000"/>
              </a:buClr>
              <a:buNone/>
            </a:pPr>
            <a:r>
              <a:rPr lang="en-US" sz="1600" b="1" dirty="0">
                <a:solidFill>
                  <a:srgbClr val="C00000"/>
                </a:solidFill>
              </a:rPr>
              <a:t>3)</a:t>
            </a:r>
            <a:r>
              <a:rPr lang="en-US" sz="1600" b="1" dirty="0"/>
              <a:t> Use cases</a:t>
            </a:r>
          </a:p>
          <a:p>
            <a:pPr marL="0" indent="0">
              <a:lnSpc>
                <a:spcPct val="150000"/>
              </a:lnSpc>
              <a:buClr>
                <a:srgbClr val="C00000"/>
              </a:buClr>
              <a:buNone/>
            </a:pPr>
            <a:r>
              <a:rPr lang="en-US" sz="1600" b="1" dirty="0">
                <a:solidFill>
                  <a:srgbClr val="C00000"/>
                </a:solidFill>
              </a:rPr>
              <a:t>     3.1)</a:t>
            </a:r>
            <a:r>
              <a:rPr lang="en-US" sz="1600" b="1" dirty="0"/>
              <a:t> AI agents' accuracy</a:t>
            </a:r>
          </a:p>
          <a:p>
            <a:pPr marL="0" indent="0">
              <a:lnSpc>
                <a:spcPct val="150000"/>
              </a:lnSpc>
              <a:buClr>
                <a:srgbClr val="C00000"/>
              </a:buClr>
              <a:buNone/>
            </a:pPr>
            <a:r>
              <a:rPr lang="en-US" sz="1600" b="1" dirty="0">
                <a:solidFill>
                  <a:srgbClr val="C00000"/>
                </a:solidFill>
              </a:rPr>
              <a:t>4) </a:t>
            </a:r>
            <a:r>
              <a:rPr lang="en-US" sz="1600" b="1" dirty="0"/>
              <a:t>Takeaways</a:t>
            </a:r>
          </a:p>
        </p:txBody>
      </p:sp>
    </p:spTree>
    <p:extLst>
      <p:ext uri="{BB962C8B-B14F-4D97-AF65-F5344CB8AC3E}">
        <p14:creationId xmlns:p14="http://schemas.microsoft.com/office/powerpoint/2010/main" val="88093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80118-643A-E702-111F-A738075B622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175E9BF-D1B2-9907-CED2-A77CA4C8D84B}"/>
              </a:ext>
            </a:extLst>
          </p:cNvPr>
          <p:cNvSpPr>
            <a:spLocks noGrp="1"/>
          </p:cNvSpPr>
          <p:nvPr>
            <p:ph type="ctrTitle"/>
          </p:nvPr>
        </p:nvSpPr>
        <p:spPr>
          <a:xfrm>
            <a:off x="439259" y="939173"/>
            <a:ext cx="11309829" cy="740981"/>
          </a:xfrm>
        </p:spPr>
        <p:txBody>
          <a:bodyPr/>
          <a:lstStyle/>
          <a:p>
            <a:pPr algn="just"/>
            <a:r>
              <a:rPr lang="en-US" dirty="0"/>
              <a:t>1) Survey (I)</a:t>
            </a:r>
          </a:p>
        </p:txBody>
      </p:sp>
      <p:pic>
        <p:nvPicPr>
          <p:cNvPr id="16" name="Imagen 15">
            <a:extLst>
              <a:ext uri="{FF2B5EF4-FFF2-40B4-BE49-F238E27FC236}">
                <a16:creationId xmlns:a16="http://schemas.microsoft.com/office/drawing/2014/main" id="{8C4D929E-267E-F8B4-3AC9-57029A70E4C4}"/>
              </a:ext>
            </a:extLst>
          </p:cNvPr>
          <p:cNvPicPr>
            <a:picLocks noChangeAspect="1"/>
          </p:cNvPicPr>
          <p:nvPr/>
        </p:nvPicPr>
        <p:blipFill>
          <a:blip r:embed="rId3"/>
          <a:stretch>
            <a:fillRect/>
          </a:stretch>
        </p:blipFill>
        <p:spPr>
          <a:xfrm>
            <a:off x="439258" y="1764385"/>
            <a:ext cx="5412823" cy="2087207"/>
          </a:xfrm>
          <a:prstGeom prst="rect">
            <a:avLst/>
          </a:prstGeom>
        </p:spPr>
      </p:pic>
      <p:pic>
        <p:nvPicPr>
          <p:cNvPr id="18" name="Imagen 17">
            <a:extLst>
              <a:ext uri="{FF2B5EF4-FFF2-40B4-BE49-F238E27FC236}">
                <a16:creationId xmlns:a16="http://schemas.microsoft.com/office/drawing/2014/main" id="{F9E814D9-0884-AFA0-0649-F8FE7114E8AF}"/>
              </a:ext>
            </a:extLst>
          </p:cNvPr>
          <p:cNvPicPr>
            <a:picLocks noChangeAspect="1"/>
          </p:cNvPicPr>
          <p:nvPr/>
        </p:nvPicPr>
        <p:blipFill>
          <a:blip r:embed="rId4"/>
          <a:stretch>
            <a:fillRect/>
          </a:stretch>
        </p:blipFill>
        <p:spPr>
          <a:xfrm>
            <a:off x="6094173" y="1764386"/>
            <a:ext cx="5468482" cy="2282013"/>
          </a:xfrm>
          <a:prstGeom prst="rect">
            <a:avLst/>
          </a:prstGeom>
        </p:spPr>
      </p:pic>
      <p:pic>
        <p:nvPicPr>
          <p:cNvPr id="20" name="Imagen 19">
            <a:extLst>
              <a:ext uri="{FF2B5EF4-FFF2-40B4-BE49-F238E27FC236}">
                <a16:creationId xmlns:a16="http://schemas.microsoft.com/office/drawing/2014/main" id="{5536A8FF-737D-3782-5ADF-73DF4ED9D68C}"/>
              </a:ext>
            </a:extLst>
          </p:cNvPr>
          <p:cNvPicPr>
            <a:picLocks noChangeAspect="1"/>
          </p:cNvPicPr>
          <p:nvPr/>
        </p:nvPicPr>
        <p:blipFill>
          <a:blip r:embed="rId5"/>
          <a:stretch>
            <a:fillRect/>
          </a:stretch>
        </p:blipFill>
        <p:spPr>
          <a:xfrm>
            <a:off x="439259" y="4164611"/>
            <a:ext cx="5468482" cy="2316800"/>
          </a:xfrm>
          <a:prstGeom prst="rect">
            <a:avLst/>
          </a:prstGeom>
        </p:spPr>
      </p:pic>
    </p:spTree>
    <p:extLst>
      <p:ext uri="{BB962C8B-B14F-4D97-AF65-F5344CB8AC3E}">
        <p14:creationId xmlns:p14="http://schemas.microsoft.com/office/powerpoint/2010/main" val="2428685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FFEC9-D977-73FD-F030-ECB651C9CF3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A3A3BAC-8B63-FE88-8EBA-55E23E04DF68}"/>
              </a:ext>
            </a:extLst>
          </p:cNvPr>
          <p:cNvSpPr>
            <a:spLocks noGrp="1"/>
          </p:cNvSpPr>
          <p:nvPr>
            <p:ph type="ctrTitle"/>
          </p:nvPr>
        </p:nvSpPr>
        <p:spPr>
          <a:xfrm>
            <a:off x="439259" y="939173"/>
            <a:ext cx="11309829" cy="740981"/>
          </a:xfrm>
        </p:spPr>
        <p:txBody>
          <a:bodyPr/>
          <a:lstStyle/>
          <a:p>
            <a:pPr algn="just"/>
            <a:r>
              <a:rPr lang="en-US" dirty="0"/>
              <a:t>1) Survey (II)</a:t>
            </a:r>
          </a:p>
        </p:txBody>
      </p:sp>
      <p:sp>
        <p:nvSpPr>
          <p:cNvPr id="11" name="CuadroTexto 10">
            <a:extLst>
              <a:ext uri="{FF2B5EF4-FFF2-40B4-BE49-F238E27FC236}">
                <a16:creationId xmlns:a16="http://schemas.microsoft.com/office/drawing/2014/main" id="{591ACA2D-8232-6019-E1A7-60ADA8C1080E}"/>
              </a:ext>
            </a:extLst>
          </p:cNvPr>
          <p:cNvSpPr txBox="1"/>
          <p:nvPr/>
        </p:nvSpPr>
        <p:spPr>
          <a:xfrm>
            <a:off x="439258" y="4719606"/>
            <a:ext cx="11219342" cy="307777"/>
          </a:xfrm>
          <a:prstGeom prst="rect">
            <a:avLst/>
          </a:prstGeom>
          <a:noFill/>
        </p:spPr>
        <p:txBody>
          <a:bodyPr wrap="square">
            <a:spAutoFit/>
          </a:bodyPr>
          <a:lstStyle/>
          <a:p>
            <a:pPr algn="just"/>
            <a:r>
              <a:rPr lang="en-US" sz="1400" b="1" i="0" dirty="0">
                <a:solidFill>
                  <a:srgbClr val="212121"/>
                </a:solidFill>
                <a:effectLst/>
                <a:latin typeface="Santander Text" panose="020B0504020201020104" pitchFamily="34" charset="0"/>
              </a:rPr>
              <a:t>Would you like to present any other AI news, your idea or comment during the meeting?</a:t>
            </a:r>
            <a:endParaRPr lang="es-ES" sz="1400" b="1" dirty="0">
              <a:latin typeface="Santander Text" panose="020B0504020201020104" pitchFamily="34" charset="0"/>
            </a:endParaRPr>
          </a:p>
        </p:txBody>
      </p:sp>
      <p:sp>
        <p:nvSpPr>
          <p:cNvPr id="12" name="CuadroTexto 11">
            <a:extLst>
              <a:ext uri="{FF2B5EF4-FFF2-40B4-BE49-F238E27FC236}">
                <a16:creationId xmlns:a16="http://schemas.microsoft.com/office/drawing/2014/main" id="{93E60E6D-EA43-22FE-9D59-AA5BB2803CBF}"/>
              </a:ext>
            </a:extLst>
          </p:cNvPr>
          <p:cNvSpPr txBox="1"/>
          <p:nvPr/>
        </p:nvSpPr>
        <p:spPr>
          <a:xfrm>
            <a:off x="439259" y="5083809"/>
            <a:ext cx="11219342" cy="1107996"/>
          </a:xfrm>
          <a:prstGeom prst="rect">
            <a:avLst/>
          </a:prstGeom>
          <a:noFill/>
        </p:spPr>
        <p:txBody>
          <a:bodyPr wrap="square">
            <a:spAutoFit/>
          </a:bodyPr>
          <a:lstStyle/>
          <a:p>
            <a:pPr algn="just">
              <a:spcAft>
                <a:spcPts val="600"/>
              </a:spcAft>
            </a:pPr>
            <a:r>
              <a:rPr lang="en-US" sz="1400" i="0" dirty="0">
                <a:solidFill>
                  <a:srgbClr val="C00000"/>
                </a:solidFill>
                <a:effectLst/>
              </a:rPr>
              <a:t>Answers</a:t>
            </a:r>
          </a:p>
          <a:p>
            <a:pPr marL="285750" indent="-285750" algn="just">
              <a:spcAft>
                <a:spcPts val="600"/>
              </a:spcAft>
              <a:buFont typeface="Wingdings" panose="05000000000000000000" pitchFamily="2" charset="2"/>
              <a:buChar char="§"/>
            </a:pPr>
            <a:r>
              <a:rPr lang="en-US" sz="1400" i="0" dirty="0">
                <a:solidFill>
                  <a:srgbClr val="212121"/>
                </a:solidFill>
                <a:effectLst/>
              </a:rPr>
              <a:t>Apple's paper on LRMs (haven't read it though) -- The Illusion of Thinking: Understanding the Strengths and Limitations of Reasoning Models via the Lens of Problem Complexity.</a:t>
            </a:r>
          </a:p>
          <a:p>
            <a:pPr marL="285750" indent="-285750" algn="just">
              <a:spcAft>
                <a:spcPts val="600"/>
              </a:spcAft>
              <a:buFont typeface="Wingdings" panose="05000000000000000000" pitchFamily="2" charset="2"/>
              <a:buChar char="§"/>
            </a:pPr>
            <a:r>
              <a:rPr lang="en-US" sz="1400" dirty="0"/>
              <a:t>Applying AI to management and not just to processes (by setting aside a designated time for it).</a:t>
            </a:r>
            <a:endParaRPr lang="es-ES" sz="1400" dirty="0"/>
          </a:p>
        </p:txBody>
      </p:sp>
      <p:sp>
        <p:nvSpPr>
          <p:cNvPr id="13" name="CuadroTexto 12">
            <a:extLst>
              <a:ext uri="{FF2B5EF4-FFF2-40B4-BE49-F238E27FC236}">
                <a16:creationId xmlns:a16="http://schemas.microsoft.com/office/drawing/2014/main" id="{F4C15732-3FC0-91F0-9D75-F7CE7BC43971}"/>
              </a:ext>
            </a:extLst>
          </p:cNvPr>
          <p:cNvSpPr txBox="1"/>
          <p:nvPr/>
        </p:nvSpPr>
        <p:spPr>
          <a:xfrm>
            <a:off x="439258" y="1418544"/>
            <a:ext cx="10381141" cy="307777"/>
          </a:xfrm>
          <a:prstGeom prst="rect">
            <a:avLst/>
          </a:prstGeom>
          <a:noFill/>
        </p:spPr>
        <p:txBody>
          <a:bodyPr wrap="square">
            <a:spAutoFit/>
          </a:bodyPr>
          <a:lstStyle/>
          <a:p>
            <a:pPr algn="just"/>
            <a:r>
              <a:rPr lang="en-US" sz="1400" b="1" i="0" dirty="0">
                <a:solidFill>
                  <a:srgbClr val="212121"/>
                </a:solidFill>
                <a:effectLst/>
                <a:latin typeface="Santander Text" panose="020B0504020201020104" pitchFamily="34" charset="0"/>
              </a:rPr>
              <a:t>Can you think of any idea, project, or exploratory path that we could evaluate or develop within SAM based on these advances?</a:t>
            </a:r>
          </a:p>
        </p:txBody>
      </p:sp>
      <p:sp>
        <p:nvSpPr>
          <p:cNvPr id="14" name="CuadroTexto 13">
            <a:extLst>
              <a:ext uri="{FF2B5EF4-FFF2-40B4-BE49-F238E27FC236}">
                <a16:creationId xmlns:a16="http://schemas.microsoft.com/office/drawing/2014/main" id="{B465FE55-FE87-88F2-6FBC-96F1929EF897}"/>
              </a:ext>
            </a:extLst>
          </p:cNvPr>
          <p:cNvSpPr txBox="1"/>
          <p:nvPr/>
        </p:nvSpPr>
        <p:spPr>
          <a:xfrm>
            <a:off x="439258" y="1773842"/>
            <a:ext cx="11219342" cy="2492990"/>
          </a:xfrm>
          <a:prstGeom prst="rect">
            <a:avLst/>
          </a:prstGeom>
          <a:noFill/>
        </p:spPr>
        <p:txBody>
          <a:bodyPr wrap="square">
            <a:spAutoFit/>
          </a:bodyPr>
          <a:lstStyle/>
          <a:p>
            <a:pPr algn="just">
              <a:spcAft>
                <a:spcPts val="600"/>
              </a:spcAft>
            </a:pPr>
            <a:r>
              <a:rPr lang="en-US" sz="1400" dirty="0">
                <a:solidFill>
                  <a:srgbClr val="C00000"/>
                </a:solidFill>
              </a:rPr>
              <a:t>Answers</a:t>
            </a:r>
          </a:p>
          <a:p>
            <a:pPr marL="285750" indent="-285750" algn="just">
              <a:spcAft>
                <a:spcPts val="600"/>
              </a:spcAft>
              <a:buFont typeface="Wingdings" panose="05000000000000000000" pitchFamily="2" charset="2"/>
              <a:buChar char="§"/>
            </a:pPr>
            <a:r>
              <a:rPr lang="en-US" sz="1400" dirty="0"/>
              <a:t>Investment Research Assistants.</a:t>
            </a:r>
          </a:p>
          <a:p>
            <a:pPr marL="285750" indent="-285750" algn="just">
              <a:spcAft>
                <a:spcPts val="600"/>
              </a:spcAft>
              <a:buFont typeface="Wingdings" panose="05000000000000000000" pitchFamily="2" charset="2"/>
              <a:buChar char="§"/>
            </a:pPr>
            <a:r>
              <a:rPr lang="en-US" sz="1400" dirty="0"/>
              <a:t>I think process automation initiatives are already underway, so this would be most useful for those. It is also good to move in parallel with emerging developments that might arise.</a:t>
            </a:r>
          </a:p>
          <a:p>
            <a:pPr marL="285750" indent="-285750" algn="just">
              <a:spcAft>
                <a:spcPts val="600"/>
              </a:spcAft>
              <a:buFont typeface="Wingdings" panose="05000000000000000000" pitchFamily="2" charset="2"/>
              <a:buChar char="§"/>
            </a:pPr>
            <a:r>
              <a:rPr lang="en-US" sz="1400" dirty="0"/>
              <a:t>Funds research, investment reports.</a:t>
            </a:r>
          </a:p>
          <a:p>
            <a:pPr marL="285750" indent="-285750" algn="just">
              <a:spcAft>
                <a:spcPts val="600"/>
              </a:spcAft>
              <a:buFont typeface="Wingdings" panose="05000000000000000000" pitchFamily="2" charset="2"/>
              <a:buChar char="§"/>
            </a:pPr>
            <a:r>
              <a:rPr lang="en-US" sz="1400" dirty="0"/>
              <a:t>Develop specific AI agents for different roles within the Investments team (portfolio managers, analysts, traders, economists, </a:t>
            </a:r>
            <a:r>
              <a:rPr lang="en-US" sz="1400" dirty="0" err="1"/>
              <a:t>etc</a:t>
            </a:r>
            <a:r>
              <a:rPr lang="en-US" sz="1400" dirty="0"/>
              <a:t>) not only for process automation but also to help on scenario analysis and, eventually, idea generation.</a:t>
            </a:r>
          </a:p>
          <a:p>
            <a:pPr marL="285750" indent="-285750" algn="just">
              <a:spcAft>
                <a:spcPts val="600"/>
              </a:spcAft>
              <a:buFont typeface="Wingdings" panose="05000000000000000000" pitchFamily="2" charset="2"/>
              <a:buChar char="§"/>
            </a:pPr>
            <a:r>
              <a:rPr lang="en-US" sz="1400" dirty="0"/>
              <a:t>Coffee Break Could be easily generated with AI tools.</a:t>
            </a:r>
          </a:p>
          <a:p>
            <a:pPr marL="285750" indent="-285750" algn="just">
              <a:spcAft>
                <a:spcPts val="600"/>
              </a:spcAft>
              <a:buFont typeface="Wingdings" panose="05000000000000000000" pitchFamily="2" charset="2"/>
              <a:buChar char="§"/>
            </a:pPr>
            <a:r>
              <a:rPr lang="en-US" sz="1400" dirty="0"/>
              <a:t>Strong believer that we need a core data foundation first, however digital workers trials should be made available to as many people as possible.</a:t>
            </a:r>
            <a:endParaRPr lang="es-ES" sz="1400" dirty="0"/>
          </a:p>
        </p:txBody>
      </p:sp>
    </p:spTree>
    <p:extLst>
      <p:ext uri="{BB962C8B-B14F-4D97-AF65-F5344CB8AC3E}">
        <p14:creationId xmlns:p14="http://schemas.microsoft.com/office/powerpoint/2010/main" val="17658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16C06-5E10-3D27-FDD3-CBECC4B4B2E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D0F0FBB-CF31-7258-D6B3-FD3CCD13F048}"/>
              </a:ext>
            </a:extLst>
          </p:cNvPr>
          <p:cNvSpPr>
            <a:spLocks noGrp="1"/>
          </p:cNvSpPr>
          <p:nvPr>
            <p:ph type="ctrTitle"/>
          </p:nvPr>
        </p:nvSpPr>
        <p:spPr>
          <a:xfrm>
            <a:off x="439259" y="939173"/>
            <a:ext cx="11309829" cy="740981"/>
          </a:xfrm>
        </p:spPr>
        <p:txBody>
          <a:bodyPr/>
          <a:lstStyle/>
          <a:p>
            <a:pPr algn="just"/>
            <a:r>
              <a:rPr lang="en-US" dirty="0"/>
              <a:t>2) Recent updates in AI</a:t>
            </a:r>
          </a:p>
        </p:txBody>
      </p:sp>
      <p:sp>
        <p:nvSpPr>
          <p:cNvPr id="6" name="Marcador de texto 4">
            <a:extLst>
              <a:ext uri="{FF2B5EF4-FFF2-40B4-BE49-F238E27FC236}">
                <a16:creationId xmlns:a16="http://schemas.microsoft.com/office/drawing/2014/main" id="{8BEF89A0-9B50-124A-6F46-17A2C809E6F0}"/>
              </a:ext>
            </a:extLst>
          </p:cNvPr>
          <p:cNvSpPr txBox="1">
            <a:spLocks/>
          </p:cNvSpPr>
          <p:nvPr/>
        </p:nvSpPr>
        <p:spPr>
          <a:xfrm>
            <a:off x="439259" y="1309663"/>
            <a:ext cx="10664170" cy="575299"/>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buClr>
                <a:srgbClr val="C00000"/>
              </a:buClr>
            </a:pPr>
            <a:r>
              <a:rPr lang="en-US" sz="1600" dirty="0">
                <a:latin typeface="+mn-lt"/>
              </a:rPr>
              <a:t>Beyond technical progress, AI is redefining scale, cost, and speed of innovation across industries.</a:t>
            </a:r>
          </a:p>
        </p:txBody>
      </p:sp>
      <p:grpSp>
        <p:nvGrpSpPr>
          <p:cNvPr id="29" name="Grupo 28">
            <a:extLst>
              <a:ext uri="{FF2B5EF4-FFF2-40B4-BE49-F238E27FC236}">
                <a16:creationId xmlns:a16="http://schemas.microsoft.com/office/drawing/2014/main" id="{55ADB1C4-4FDB-F17E-A0AE-07572E04D345}"/>
              </a:ext>
            </a:extLst>
          </p:cNvPr>
          <p:cNvGrpSpPr/>
          <p:nvPr/>
        </p:nvGrpSpPr>
        <p:grpSpPr>
          <a:xfrm>
            <a:off x="134465" y="1840125"/>
            <a:ext cx="3965827" cy="4805306"/>
            <a:chOff x="439259" y="1840125"/>
            <a:chExt cx="3965827" cy="4805306"/>
          </a:xfrm>
        </p:grpSpPr>
        <p:sp>
          <p:nvSpPr>
            <p:cNvPr id="14" name="Marcador de texto 4">
              <a:extLst>
                <a:ext uri="{FF2B5EF4-FFF2-40B4-BE49-F238E27FC236}">
                  <a16:creationId xmlns:a16="http://schemas.microsoft.com/office/drawing/2014/main" id="{E3CF0BD5-F2D8-4DDE-B1A9-1CBB336FB670}"/>
                </a:ext>
              </a:extLst>
            </p:cNvPr>
            <p:cNvSpPr txBox="1">
              <a:spLocks/>
            </p:cNvSpPr>
            <p:nvPr/>
          </p:nvSpPr>
          <p:spPr>
            <a:xfrm>
              <a:off x="632086" y="2596424"/>
              <a:ext cx="3533514" cy="1431873"/>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1) DeepSeek-R1-0528: High-Performance Open-Source AI</a:t>
              </a:r>
            </a:p>
            <a:p>
              <a:pPr marL="285750" indent="-285750" algn="just">
                <a:buClr>
                  <a:srgbClr val="C00000"/>
                </a:buClr>
                <a:buFont typeface="Wingdings" panose="05000000000000000000" pitchFamily="2" charset="2"/>
                <a:buChar char="§"/>
              </a:pPr>
              <a:r>
                <a:rPr lang="en-US" dirty="0">
                  <a:latin typeface="+mn-lt"/>
                </a:rPr>
                <a:t>Open-weight models approaching the capabilities of top closed models like OpenAI’s o3 and Google Gemini.</a:t>
              </a:r>
            </a:p>
            <a:p>
              <a:pPr marL="285750" indent="-285750" algn="just">
                <a:buClr>
                  <a:srgbClr val="C00000"/>
                </a:buClr>
                <a:buFont typeface="Wingdings" panose="05000000000000000000" pitchFamily="2" charset="2"/>
                <a:buChar char="§"/>
              </a:pPr>
              <a:r>
                <a:rPr lang="en-US" dirty="0">
                  <a:latin typeface="+mn-lt"/>
                </a:rPr>
                <a:t>MIT license, cost-efficient, and operable on smaller hardware setups.</a:t>
              </a:r>
            </a:p>
          </p:txBody>
        </p:sp>
        <p:sp>
          <p:nvSpPr>
            <p:cNvPr id="15" name="Marcador de texto 4">
              <a:extLst>
                <a:ext uri="{FF2B5EF4-FFF2-40B4-BE49-F238E27FC236}">
                  <a16:creationId xmlns:a16="http://schemas.microsoft.com/office/drawing/2014/main" id="{D8166BA2-5257-6133-A7CD-BB5D108FE22A}"/>
                </a:ext>
              </a:extLst>
            </p:cNvPr>
            <p:cNvSpPr txBox="1">
              <a:spLocks/>
            </p:cNvSpPr>
            <p:nvPr/>
          </p:nvSpPr>
          <p:spPr>
            <a:xfrm>
              <a:off x="632086" y="3989388"/>
              <a:ext cx="3533514" cy="142555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da-DK" b="1" dirty="0">
                  <a:latin typeface="Santander Text" panose="020B0504020201020104" pitchFamily="34" charset="0"/>
                </a:rPr>
                <a:t>2) STORM: Efficient Multimodal Video </a:t>
              </a:r>
              <a:r>
                <a:rPr lang="da-DK" b="1" dirty="0" err="1">
                  <a:latin typeface="Santander Text" panose="020B0504020201020104" pitchFamily="34" charset="0"/>
                </a:rPr>
                <a:t>Understanding</a:t>
              </a:r>
              <a:endParaRPr lang="en-US" b="1" dirty="0">
                <a:latin typeface="Santander Text" panose="020B0504020201020104" pitchFamily="34" charset="0"/>
              </a:endParaRPr>
            </a:p>
            <a:p>
              <a:pPr marL="285750" indent="-285750" algn="just">
                <a:buClr>
                  <a:srgbClr val="C00000"/>
                </a:buClr>
                <a:buFont typeface="Wingdings" panose="05000000000000000000" pitchFamily="2" charset="2"/>
                <a:buChar char="§"/>
              </a:pPr>
              <a:r>
                <a:rPr lang="en-US" dirty="0">
                  <a:latin typeface="+mn-lt"/>
                </a:rPr>
                <a:t>Drastically reduces video tokens processed without loss of performance.</a:t>
              </a:r>
            </a:p>
            <a:p>
              <a:pPr marL="285750" indent="-285750" algn="just">
                <a:buClr>
                  <a:srgbClr val="C00000"/>
                </a:buClr>
                <a:buFont typeface="Wingdings" panose="05000000000000000000" pitchFamily="2" charset="2"/>
                <a:buChar char="§"/>
              </a:pPr>
              <a:r>
                <a:rPr lang="en-US" dirty="0">
                  <a:latin typeface="+mn-lt"/>
                </a:rPr>
                <a:t>Ideal for applications in education, media analysis, and surveillance.</a:t>
              </a:r>
            </a:p>
          </p:txBody>
        </p:sp>
        <p:sp>
          <p:nvSpPr>
            <p:cNvPr id="16" name="Marcador de texto 4">
              <a:extLst>
                <a:ext uri="{FF2B5EF4-FFF2-40B4-BE49-F238E27FC236}">
                  <a16:creationId xmlns:a16="http://schemas.microsoft.com/office/drawing/2014/main" id="{4FEB89AF-6493-CA4A-A375-523CA0F523C1}"/>
                </a:ext>
              </a:extLst>
            </p:cNvPr>
            <p:cNvSpPr txBox="1">
              <a:spLocks/>
            </p:cNvSpPr>
            <p:nvPr/>
          </p:nvSpPr>
          <p:spPr>
            <a:xfrm>
              <a:off x="632086" y="5376034"/>
              <a:ext cx="3533514" cy="1242618"/>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3) Benchmarking Reasoning Models: Rising Costs</a:t>
              </a:r>
            </a:p>
            <a:p>
              <a:pPr marL="285750" indent="-285750" algn="just">
                <a:buClr>
                  <a:srgbClr val="C00000"/>
                </a:buClr>
                <a:buFont typeface="Wingdings" panose="05000000000000000000" pitchFamily="2" charset="2"/>
                <a:buChar char="§"/>
              </a:pPr>
              <a:r>
                <a:rPr lang="en-US" dirty="0">
                  <a:latin typeface="+mn-lt"/>
                </a:rPr>
                <a:t>Costs for evaluating complex reasoning models are rising steeply.</a:t>
              </a:r>
            </a:p>
            <a:p>
              <a:pPr marL="285750" indent="-285750" algn="just">
                <a:buClr>
                  <a:srgbClr val="C00000"/>
                </a:buClr>
                <a:buFont typeface="Wingdings" panose="05000000000000000000" pitchFamily="2" charset="2"/>
                <a:buChar char="§"/>
              </a:pPr>
              <a:r>
                <a:rPr lang="en-US" dirty="0">
                  <a:latin typeface="+mn-lt"/>
                </a:rPr>
                <a:t> A challenge for reproducibility and independent validation, especially for smaller labs and startups.</a:t>
              </a:r>
            </a:p>
          </p:txBody>
        </p:sp>
        <p:sp>
          <p:nvSpPr>
            <p:cNvPr id="25" name="Rectángulo 24">
              <a:extLst>
                <a:ext uri="{FF2B5EF4-FFF2-40B4-BE49-F238E27FC236}">
                  <a16:creationId xmlns:a16="http://schemas.microsoft.com/office/drawing/2014/main" id="{3DC411D3-02E6-2C49-577E-431E3D1FF260}"/>
                </a:ext>
              </a:extLst>
            </p:cNvPr>
            <p:cNvSpPr/>
            <p:nvPr/>
          </p:nvSpPr>
          <p:spPr>
            <a:xfrm>
              <a:off x="439259" y="2204352"/>
              <a:ext cx="3965827" cy="4441079"/>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texto 4">
              <a:extLst>
                <a:ext uri="{FF2B5EF4-FFF2-40B4-BE49-F238E27FC236}">
                  <a16:creationId xmlns:a16="http://schemas.microsoft.com/office/drawing/2014/main" id="{5BB125DB-F813-949A-99A7-A9A6AC44B387}"/>
                </a:ext>
              </a:extLst>
            </p:cNvPr>
            <p:cNvSpPr txBox="1">
              <a:spLocks/>
            </p:cNvSpPr>
            <p:nvPr/>
          </p:nvSpPr>
          <p:spPr>
            <a:xfrm>
              <a:off x="1061816"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Foundation Models and Technical Advances in AI</a:t>
              </a:r>
            </a:p>
          </p:txBody>
        </p:sp>
      </p:grpSp>
      <p:grpSp>
        <p:nvGrpSpPr>
          <p:cNvPr id="30" name="Grupo 29">
            <a:extLst>
              <a:ext uri="{FF2B5EF4-FFF2-40B4-BE49-F238E27FC236}">
                <a16:creationId xmlns:a16="http://schemas.microsoft.com/office/drawing/2014/main" id="{3482CECA-D2B8-8BF2-C6F7-848A18B53E1A}"/>
              </a:ext>
            </a:extLst>
          </p:cNvPr>
          <p:cNvGrpSpPr/>
          <p:nvPr/>
        </p:nvGrpSpPr>
        <p:grpSpPr>
          <a:xfrm>
            <a:off x="4143602" y="1840125"/>
            <a:ext cx="3916607" cy="2049704"/>
            <a:chOff x="4695134" y="1840125"/>
            <a:chExt cx="3916607" cy="2049704"/>
          </a:xfrm>
        </p:grpSpPr>
        <p:sp>
          <p:nvSpPr>
            <p:cNvPr id="17" name="Marcador de texto 4">
              <a:extLst>
                <a:ext uri="{FF2B5EF4-FFF2-40B4-BE49-F238E27FC236}">
                  <a16:creationId xmlns:a16="http://schemas.microsoft.com/office/drawing/2014/main" id="{E489FA0E-5146-4715-B5C6-F21415523D81}"/>
                </a:ext>
              </a:extLst>
            </p:cNvPr>
            <p:cNvSpPr txBox="1">
              <a:spLocks/>
            </p:cNvSpPr>
            <p:nvPr/>
          </p:nvSpPr>
          <p:spPr>
            <a:xfrm>
              <a:off x="4908548" y="2473055"/>
              <a:ext cx="3535200" cy="134178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fr-FR" b="1" dirty="0">
                  <a:latin typeface="Santander Text" panose="020B0504020201020104" pitchFamily="34" charset="0"/>
                </a:rPr>
                <a:t>4) FLUX.1 </a:t>
              </a:r>
              <a:r>
                <a:rPr lang="fr-FR" b="1" dirty="0" err="1">
                  <a:latin typeface="Santander Text" panose="020B0504020201020104" pitchFamily="34" charset="0"/>
                </a:rPr>
                <a:t>Kontext</a:t>
              </a:r>
              <a:r>
                <a:rPr lang="fr-FR" b="1" dirty="0">
                  <a:latin typeface="Santander Text" panose="020B0504020201020104" pitchFamily="34" charset="0"/>
                </a:rPr>
                <a:t>: Consistent Image </a:t>
              </a:r>
              <a:r>
                <a:rPr lang="fr-FR" b="1" dirty="0" err="1">
                  <a:latin typeface="Santander Text" panose="020B0504020201020104" pitchFamily="34" charset="0"/>
                </a:rPr>
                <a:t>Generation</a:t>
              </a:r>
              <a:endParaRPr lang="en-US" b="1" dirty="0">
                <a:latin typeface="Santander Text" panose="020B0504020201020104" pitchFamily="34" charset="0"/>
              </a:endParaRPr>
            </a:p>
            <a:p>
              <a:pPr marL="285750" indent="-285750" algn="just">
                <a:buClr>
                  <a:srgbClr val="C00000"/>
                </a:buClr>
                <a:buFont typeface="Wingdings" panose="05000000000000000000" pitchFamily="2" charset="2"/>
                <a:buChar char="§"/>
              </a:pPr>
              <a:r>
                <a:rPr lang="en-US" dirty="0">
                  <a:latin typeface="+mn-lt"/>
                </a:rPr>
                <a:t>Models capable of maintaining character consistency and editing across scenes.</a:t>
              </a:r>
            </a:p>
            <a:p>
              <a:pPr marL="285750" indent="-285750" algn="just">
                <a:buClr>
                  <a:srgbClr val="C00000"/>
                </a:buClr>
                <a:buFont typeface="Wingdings" panose="05000000000000000000" pitchFamily="2" charset="2"/>
                <a:buChar char="§"/>
              </a:pPr>
              <a:r>
                <a:rPr lang="en-US" dirty="0">
                  <a:latin typeface="+mn-lt"/>
                </a:rPr>
                <a:t>Useful for video production, graphic design, gaming, and visual storytelling.</a:t>
              </a:r>
            </a:p>
          </p:txBody>
        </p:sp>
        <p:sp>
          <p:nvSpPr>
            <p:cNvPr id="27" name="Rectángulo 26">
              <a:extLst>
                <a:ext uri="{FF2B5EF4-FFF2-40B4-BE49-F238E27FC236}">
                  <a16:creationId xmlns:a16="http://schemas.microsoft.com/office/drawing/2014/main" id="{A18CB189-6B2F-FF05-C878-C05BFBA1E48F}"/>
                </a:ext>
              </a:extLst>
            </p:cNvPr>
            <p:cNvSpPr/>
            <p:nvPr/>
          </p:nvSpPr>
          <p:spPr>
            <a:xfrm>
              <a:off x="4695134" y="2204352"/>
              <a:ext cx="3916607" cy="1685477"/>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Marcador de texto 4">
              <a:extLst>
                <a:ext uri="{FF2B5EF4-FFF2-40B4-BE49-F238E27FC236}">
                  <a16:creationId xmlns:a16="http://schemas.microsoft.com/office/drawing/2014/main" id="{6DC94D33-0540-8411-9AFF-BC554570FD22}"/>
                </a:ext>
              </a:extLst>
            </p:cNvPr>
            <p:cNvSpPr txBox="1">
              <a:spLocks/>
            </p:cNvSpPr>
            <p:nvPr/>
          </p:nvSpPr>
          <p:spPr>
            <a:xfrm>
              <a:off x="5339121"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Creativity and Content Generation</a:t>
              </a:r>
            </a:p>
          </p:txBody>
        </p:sp>
      </p:grpSp>
      <p:grpSp>
        <p:nvGrpSpPr>
          <p:cNvPr id="37" name="Grupo 36">
            <a:extLst>
              <a:ext uri="{FF2B5EF4-FFF2-40B4-BE49-F238E27FC236}">
                <a16:creationId xmlns:a16="http://schemas.microsoft.com/office/drawing/2014/main" id="{8976AAF8-1F55-AD82-9D98-6FFA3060D36A}"/>
              </a:ext>
            </a:extLst>
          </p:cNvPr>
          <p:cNvGrpSpPr/>
          <p:nvPr/>
        </p:nvGrpSpPr>
        <p:grpSpPr>
          <a:xfrm>
            <a:off x="8102772" y="1840125"/>
            <a:ext cx="3965827" cy="4805306"/>
            <a:chOff x="439259" y="1840125"/>
            <a:chExt cx="3965827" cy="4805306"/>
          </a:xfrm>
        </p:grpSpPr>
        <p:sp>
          <p:nvSpPr>
            <p:cNvPr id="38" name="Marcador de texto 4">
              <a:extLst>
                <a:ext uri="{FF2B5EF4-FFF2-40B4-BE49-F238E27FC236}">
                  <a16:creationId xmlns:a16="http://schemas.microsoft.com/office/drawing/2014/main" id="{691FDFAE-1869-C9D8-593E-52E54B8D9BA8}"/>
                </a:ext>
              </a:extLst>
            </p:cNvPr>
            <p:cNvSpPr txBox="1">
              <a:spLocks/>
            </p:cNvSpPr>
            <p:nvPr/>
          </p:nvSpPr>
          <p:spPr>
            <a:xfrm>
              <a:off x="632086" y="2596424"/>
              <a:ext cx="3533514" cy="1431873"/>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6) AI Trends 2025 Report (Mary Meeker)</a:t>
              </a:r>
            </a:p>
            <a:p>
              <a:pPr marL="285750" indent="-285750" algn="just">
                <a:buClr>
                  <a:srgbClr val="C00000"/>
                </a:buClr>
                <a:buFont typeface="Wingdings" panose="05000000000000000000" pitchFamily="2" charset="2"/>
                <a:buChar char="§"/>
              </a:pPr>
              <a:r>
                <a:rPr lang="en-US" dirty="0">
                  <a:latin typeface="+mn-lt"/>
                </a:rPr>
                <a:t>Comprehensive analysis of AI’s explosive growth and future projections.</a:t>
              </a:r>
            </a:p>
            <a:p>
              <a:pPr marL="285750" indent="-285750" algn="just">
                <a:buClr>
                  <a:srgbClr val="C00000"/>
                </a:buClr>
                <a:buFont typeface="Wingdings" panose="05000000000000000000" pitchFamily="2" charset="2"/>
                <a:buChar char="§"/>
              </a:pPr>
              <a:r>
                <a:rPr lang="en-US" dirty="0">
                  <a:latin typeface="+mn-lt"/>
                </a:rPr>
                <a:t>Highlights job disruption, investment shifts, and human-AI productivity gains.</a:t>
              </a:r>
            </a:p>
          </p:txBody>
        </p:sp>
        <p:sp>
          <p:nvSpPr>
            <p:cNvPr id="39" name="Marcador de texto 4">
              <a:extLst>
                <a:ext uri="{FF2B5EF4-FFF2-40B4-BE49-F238E27FC236}">
                  <a16:creationId xmlns:a16="http://schemas.microsoft.com/office/drawing/2014/main" id="{CC4DDFF4-761D-995B-6DF0-1E7532E18886}"/>
                </a:ext>
              </a:extLst>
            </p:cNvPr>
            <p:cNvSpPr txBox="1">
              <a:spLocks/>
            </p:cNvSpPr>
            <p:nvPr/>
          </p:nvSpPr>
          <p:spPr>
            <a:xfrm>
              <a:off x="632086" y="3989388"/>
              <a:ext cx="3533514" cy="142555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7) AI and Energy Consumption (IEA)</a:t>
              </a:r>
            </a:p>
            <a:p>
              <a:pPr marL="285750" indent="-285750" algn="just">
                <a:buClr>
                  <a:srgbClr val="C00000"/>
                </a:buClr>
                <a:buFont typeface="Wingdings" panose="05000000000000000000" pitchFamily="2" charset="2"/>
                <a:buChar char="§"/>
              </a:pPr>
              <a:r>
                <a:rPr lang="en-US" dirty="0">
                  <a:latin typeface="+mn-lt"/>
                </a:rPr>
                <a:t>Dual narrative: AI increases energy demand but also enables significant energy savings.</a:t>
              </a:r>
            </a:p>
            <a:p>
              <a:pPr marL="285750" indent="-285750" algn="just">
                <a:buClr>
                  <a:srgbClr val="C00000"/>
                </a:buClr>
                <a:buFont typeface="Wingdings" panose="05000000000000000000" pitchFamily="2" charset="2"/>
                <a:buChar char="§"/>
              </a:pPr>
              <a:r>
                <a:rPr lang="en-US" dirty="0">
                  <a:latin typeface="+mn-lt"/>
                </a:rPr>
                <a:t>Urges strategic planning for sustainable infrastructure and regulatory frameworks.</a:t>
              </a:r>
            </a:p>
          </p:txBody>
        </p:sp>
        <p:sp>
          <p:nvSpPr>
            <p:cNvPr id="41" name="Rectángulo 40">
              <a:extLst>
                <a:ext uri="{FF2B5EF4-FFF2-40B4-BE49-F238E27FC236}">
                  <a16:creationId xmlns:a16="http://schemas.microsoft.com/office/drawing/2014/main" id="{1D17B2A6-1FC3-8256-10F3-3AFCA2296B20}"/>
                </a:ext>
              </a:extLst>
            </p:cNvPr>
            <p:cNvSpPr/>
            <p:nvPr/>
          </p:nvSpPr>
          <p:spPr>
            <a:xfrm>
              <a:off x="439259" y="2204352"/>
              <a:ext cx="3965827" cy="4441079"/>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Marcador de texto 4">
              <a:extLst>
                <a:ext uri="{FF2B5EF4-FFF2-40B4-BE49-F238E27FC236}">
                  <a16:creationId xmlns:a16="http://schemas.microsoft.com/office/drawing/2014/main" id="{9320906B-9399-F7D8-A216-3D8FA59FFFD9}"/>
                </a:ext>
              </a:extLst>
            </p:cNvPr>
            <p:cNvSpPr txBox="1">
              <a:spLocks/>
            </p:cNvSpPr>
            <p:nvPr/>
          </p:nvSpPr>
          <p:spPr>
            <a:xfrm>
              <a:off x="1061816"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Market Forces, Energy &amp; Global Trends</a:t>
              </a:r>
            </a:p>
          </p:txBody>
        </p:sp>
      </p:grpSp>
      <p:grpSp>
        <p:nvGrpSpPr>
          <p:cNvPr id="43" name="Grupo 42">
            <a:extLst>
              <a:ext uri="{FF2B5EF4-FFF2-40B4-BE49-F238E27FC236}">
                <a16:creationId xmlns:a16="http://schemas.microsoft.com/office/drawing/2014/main" id="{64ED50A7-AB2A-7F01-F5AB-15829F2C15D0}"/>
              </a:ext>
            </a:extLst>
          </p:cNvPr>
          <p:cNvGrpSpPr/>
          <p:nvPr/>
        </p:nvGrpSpPr>
        <p:grpSpPr>
          <a:xfrm>
            <a:off x="4143601" y="3923463"/>
            <a:ext cx="3916607" cy="2263534"/>
            <a:chOff x="4695134" y="1840125"/>
            <a:chExt cx="3916607" cy="1819507"/>
          </a:xfrm>
        </p:grpSpPr>
        <p:sp>
          <p:nvSpPr>
            <p:cNvPr id="45" name="Rectángulo 44">
              <a:extLst>
                <a:ext uri="{FF2B5EF4-FFF2-40B4-BE49-F238E27FC236}">
                  <a16:creationId xmlns:a16="http://schemas.microsoft.com/office/drawing/2014/main" id="{F10211DB-E9CE-756B-FFAA-2E035271535F}"/>
                </a:ext>
              </a:extLst>
            </p:cNvPr>
            <p:cNvSpPr/>
            <p:nvPr/>
          </p:nvSpPr>
          <p:spPr>
            <a:xfrm>
              <a:off x="4695134" y="2204352"/>
              <a:ext cx="3916607" cy="145528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Marcador de texto 4">
              <a:extLst>
                <a:ext uri="{FF2B5EF4-FFF2-40B4-BE49-F238E27FC236}">
                  <a16:creationId xmlns:a16="http://schemas.microsoft.com/office/drawing/2014/main" id="{2911DFDA-7CBF-CE55-8527-50CF72078341}"/>
                </a:ext>
              </a:extLst>
            </p:cNvPr>
            <p:cNvSpPr txBox="1">
              <a:spLocks/>
            </p:cNvSpPr>
            <p:nvPr/>
          </p:nvSpPr>
          <p:spPr>
            <a:xfrm>
              <a:off x="5339121"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Real-World Applications and Industry Transformation</a:t>
              </a:r>
            </a:p>
          </p:txBody>
        </p:sp>
        <p:sp>
          <p:nvSpPr>
            <p:cNvPr id="44" name="Marcador de texto 4">
              <a:extLst>
                <a:ext uri="{FF2B5EF4-FFF2-40B4-BE49-F238E27FC236}">
                  <a16:creationId xmlns:a16="http://schemas.microsoft.com/office/drawing/2014/main" id="{9947456F-95BE-E86D-DF69-B445F45E839E}"/>
                </a:ext>
              </a:extLst>
            </p:cNvPr>
            <p:cNvSpPr txBox="1">
              <a:spLocks/>
            </p:cNvSpPr>
            <p:nvPr/>
          </p:nvSpPr>
          <p:spPr>
            <a:xfrm>
              <a:off x="4908548" y="2473055"/>
              <a:ext cx="3535200" cy="1101424"/>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5) Duolingo: AI-Powered Expansion of Language Learning</a:t>
              </a:r>
            </a:p>
            <a:p>
              <a:pPr marL="285750" indent="-285750" algn="just">
                <a:buClr>
                  <a:srgbClr val="C00000"/>
                </a:buClr>
                <a:buFont typeface="Wingdings" panose="05000000000000000000" pitchFamily="2" charset="2"/>
                <a:buChar char="§"/>
              </a:pPr>
              <a:r>
                <a:rPr lang="en-US" dirty="0">
                  <a:latin typeface="+mn-lt"/>
                </a:rPr>
                <a:t>Used generative AI to scale from 100 to 148 language courses.</a:t>
              </a:r>
            </a:p>
            <a:p>
              <a:pPr marL="285750" indent="-285750" algn="just">
                <a:buClr>
                  <a:srgbClr val="C00000"/>
                </a:buClr>
                <a:buFont typeface="Wingdings" panose="05000000000000000000" pitchFamily="2" charset="2"/>
                <a:buChar char="§"/>
              </a:pPr>
              <a:r>
                <a:rPr lang="en-US" dirty="0">
                  <a:latin typeface="+mn-lt"/>
                </a:rPr>
                <a:t>Achieved personalization and multilingual rollout in record time.</a:t>
              </a:r>
            </a:p>
          </p:txBody>
        </p:sp>
      </p:grpSp>
    </p:spTree>
    <p:extLst>
      <p:ext uri="{BB962C8B-B14F-4D97-AF65-F5344CB8AC3E}">
        <p14:creationId xmlns:p14="http://schemas.microsoft.com/office/powerpoint/2010/main" val="1243781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E9CD4-203F-1971-D010-D3FB9565BE7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B484C4C-ACBA-F187-2C1F-D605A8F30CDF}"/>
              </a:ext>
            </a:extLst>
          </p:cNvPr>
          <p:cNvSpPr>
            <a:spLocks noGrp="1"/>
          </p:cNvSpPr>
          <p:nvPr>
            <p:ph type="ctrTitle"/>
          </p:nvPr>
        </p:nvSpPr>
        <p:spPr>
          <a:xfrm>
            <a:off x="439259" y="939173"/>
            <a:ext cx="11309829" cy="740981"/>
          </a:xfrm>
        </p:spPr>
        <p:txBody>
          <a:bodyPr/>
          <a:lstStyle/>
          <a:p>
            <a:pPr algn="just"/>
            <a:r>
              <a:rPr lang="en-US" dirty="0"/>
              <a:t>2.1) Recent updates in AI - DeepSeek-R1-0528: High-Performance Open-Source AI</a:t>
            </a:r>
          </a:p>
        </p:txBody>
      </p:sp>
      <p:sp>
        <p:nvSpPr>
          <p:cNvPr id="6" name="Marcador de texto 4">
            <a:extLst>
              <a:ext uri="{FF2B5EF4-FFF2-40B4-BE49-F238E27FC236}">
                <a16:creationId xmlns:a16="http://schemas.microsoft.com/office/drawing/2014/main" id="{4D640CA6-3CA2-8440-10D3-BFED64F620AB}"/>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err="1">
                <a:latin typeface="+mn-lt"/>
              </a:rPr>
              <a:t>DeepSeek</a:t>
            </a:r>
            <a:r>
              <a:rPr lang="en-US" sz="1800" dirty="0">
                <a:latin typeface="+mn-lt"/>
              </a:rPr>
              <a:t> has launched the latest version of its open-weight model, </a:t>
            </a:r>
            <a:r>
              <a:rPr lang="en-US" sz="1800" b="1" dirty="0">
                <a:latin typeface="+mn-lt"/>
              </a:rPr>
              <a:t>DeepSeek-R1-0528</a:t>
            </a:r>
            <a:r>
              <a:rPr lang="en-US" sz="1800" dirty="0">
                <a:latin typeface="+mn-lt"/>
              </a:rPr>
              <a:t>,</a:t>
            </a:r>
            <a:r>
              <a:rPr lang="en-US" sz="1800" b="1" dirty="0">
                <a:latin typeface="+mn-lt"/>
              </a:rPr>
              <a:t> </a:t>
            </a:r>
            <a:r>
              <a:rPr lang="en-US" sz="1800" dirty="0">
                <a:latin typeface="+mn-lt"/>
              </a:rPr>
              <a:t>approaching the performance of top-tier closed models like OpenAI o3 and Gemini-2.5 Pro.</a:t>
            </a:r>
          </a:p>
          <a:p>
            <a:pPr marL="285750" indent="-285750" algn="just">
              <a:buClr>
                <a:srgbClr val="C00000"/>
              </a:buClr>
              <a:buFont typeface="Wingdings" panose="05000000000000000000" pitchFamily="2" charset="2"/>
              <a:buChar char="§"/>
            </a:pPr>
            <a:r>
              <a:rPr lang="en-US" sz="1800" b="1" dirty="0"/>
              <a:t>Flagship model:</a:t>
            </a:r>
            <a:r>
              <a:rPr lang="en-US" sz="1800" dirty="0"/>
              <a:t> 685B parameters (Mixture-of-Experts), 64k input/output tokens.</a:t>
            </a:r>
          </a:p>
          <a:p>
            <a:pPr marL="285750" indent="-285750" algn="just">
              <a:buClr>
                <a:srgbClr val="C00000"/>
              </a:buClr>
              <a:buFont typeface="Wingdings" panose="05000000000000000000" pitchFamily="2" charset="2"/>
              <a:buChar char="§"/>
            </a:pPr>
            <a:r>
              <a:rPr lang="en-US" sz="1800" b="1" dirty="0"/>
              <a:t>Performance:</a:t>
            </a:r>
            <a:r>
              <a:rPr lang="en-US" sz="1800" dirty="0"/>
              <a:t> Dramatic improvement in reasoning (+9 points on HLE) and programming tasks (+18 points on Aider).</a:t>
            </a:r>
          </a:p>
          <a:p>
            <a:pPr marL="285750" indent="-285750" algn="just">
              <a:buClr>
                <a:srgbClr val="C00000"/>
              </a:buClr>
              <a:buFont typeface="Wingdings" panose="05000000000000000000" pitchFamily="2" charset="2"/>
              <a:buChar char="§"/>
            </a:pPr>
            <a:r>
              <a:rPr lang="en-US" sz="1800" b="1" dirty="0"/>
              <a:t>Compact version:</a:t>
            </a:r>
            <a:r>
              <a:rPr lang="en-US" sz="1800" dirty="0"/>
              <a:t> DeepSeek-R1-0528-Qwen3-8B excels in its size class and runs on a single GPU.</a:t>
            </a:r>
          </a:p>
          <a:p>
            <a:pPr marL="285750" indent="-285750" algn="just">
              <a:buClr>
                <a:srgbClr val="C00000"/>
              </a:buClr>
              <a:buFont typeface="Wingdings" panose="05000000000000000000" pitchFamily="2" charset="2"/>
              <a:buChar char="§"/>
            </a:pPr>
            <a:r>
              <a:rPr lang="en-US" sz="1800" b="1" dirty="0"/>
              <a:t>MIT Open License:</a:t>
            </a:r>
            <a:r>
              <a:rPr lang="en-US" sz="1800" dirty="0"/>
              <a:t> Available on Hugging Face for commercial and non-commercial use.</a:t>
            </a:r>
            <a:endParaRPr lang="en-US" sz="1800" dirty="0">
              <a:latin typeface="+mn-lt"/>
            </a:endParaRPr>
          </a:p>
        </p:txBody>
      </p:sp>
      <p:sp>
        <p:nvSpPr>
          <p:cNvPr id="4" name="CuadroTexto 3">
            <a:extLst>
              <a:ext uri="{FF2B5EF4-FFF2-40B4-BE49-F238E27FC236}">
                <a16:creationId xmlns:a16="http://schemas.microsoft.com/office/drawing/2014/main" id="{6C273F7D-CCBD-F3F2-7BED-FB9C3AD4A092}"/>
              </a:ext>
            </a:extLst>
          </p:cNvPr>
          <p:cNvSpPr txBox="1"/>
          <p:nvPr/>
        </p:nvSpPr>
        <p:spPr>
          <a:xfrm>
            <a:off x="439259" y="5427508"/>
            <a:ext cx="6070398" cy="923330"/>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Closes the gap between open and closed models, democratizing access to high-performance AI at lower cost.</a:t>
            </a:r>
            <a:endParaRPr lang="es-ES" dirty="0">
              <a:solidFill>
                <a:schemeClr val="bg1"/>
              </a:solidFill>
              <a:latin typeface="Santander Text" panose="020B0504020201020104" pitchFamily="34" charset="0"/>
            </a:endParaRPr>
          </a:p>
        </p:txBody>
      </p:sp>
      <p:pic>
        <p:nvPicPr>
          <p:cNvPr id="1026" name="Picture 2" descr="Bar graph comparing AI model accuracies for AIME 2024-2025, GPQA, LiveCodeBench, Aider, and Humanity's Last Exam.">
            <a:extLst>
              <a:ext uri="{FF2B5EF4-FFF2-40B4-BE49-F238E27FC236}">
                <a16:creationId xmlns:a16="http://schemas.microsoft.com/office/drawing/2014/main" id="{71934056-E2BC-4B8B-AD68-704B7033CBAE}"/>
              </a:ext>
            </a:extLst>
          </p:cNvPr>
          <p:cNvPicPr>
            <a:picLocks noChangeAspect="1" noChangeArrowheads="1"/>
          </p:cNvPicPr>
          <p:nvPr/>
        </p:nvPicPr>
        <p:blipFill>
          <a:blip r:link="rId3">
            <a:extLst>
              <a:ext uri="{28A0092B-C50C-407E-A947-70E740481C1C}">
                <a14:useLocalDpi xmlns:a14="http://schemas.microsoft.com/office/drawing/2010/main" val="0"/>
              </a:ext>
            </a:extLst>
          </a:blip>
          <a:srcRect/>
          <a:stretch>
            <a:fillRect/>
          </a:stretch>
        </p:blipFill>
        <p:spPr bwMode="auto">
          <a:xfrm>
            <a:off x="6665445" y="2185876"/>
            <a:ext cx="5237056" cy="2944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5739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F6295-CFA1-866E-A04A-EF4657591A8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ACB77CB7-F42A-5FB0-B055-007789A96A1D}"/>
              </a:ext>
            </a:extLst>
          </p:cNvPr>
          <p:cNvSpPr>
            <a:spLocks noGrp="1"/>
          </p:cNvSpPr>
          <p:nvPr>
            <p:ph type="ctrTitle"/>
          </p:nvPr>
        </p:nvSpPr>
        <p:spPr>
          <a:xfrm>
            <a:off x="439259" y="939173"/>
            <a:ext cx="11309829" cy="740981"/>
          </a:xfrm>
        </p:spPr>
        <p:txBody>
          <a:bodyPr/>
          <a:lstStyle/>
          <a:p>
            <a:pPr algn="just"/>
            <a:r>
              <a:rPr lang="en-US" dirty="0"/>
              <a:t>2.2) Recent updates in AI - </a:t>
            </a:r>
            <a:r>
              <a:rPr lang="da-DK" dirty="0"/>
              <a:t>STORM: Efficient Multimodal Video </a:t>
            </a:r>
            <a:r>
              <a:rPr lang="da-DK" dirty="0" err="1"/>
              <a:t>Understanding</a:t>
            </a:r>
            <a:endParaRPr lang="en-US" dirty="0"/>
          </a:p>
        </p:txBody>
      </p:sp>
      <p:sp>
        <p:nvSpPr>
          <p:cNvPr id="3" name="Marcador de texto 4">
            <a:extLst>
              <a:ext uri="{FF2B5EF4-FFF2-40B4-BE49-F238E27FC236}">
                <a16:creationId xmlns:a16="http://schemas.microsoft.com/office/drawing/2014/main" id="{FAC61299-F5FC-080D-946C-5C28389BCA70}"/>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t>Researchers from Nvidia and top universities developed </a:t>
            </a:r>
            <a:r>
              <a:rPr lang="en-US" sz="1800" b="1" dirty="0"/>
              <a:t>STORM</a:t>
            </a:r>
            <a:r>
              <a:rPr lang="en-US" sz="1800" dirty="0"/>
              <a:t>, a system that enhances video understanding while reducing token usage by 87.5%.</a:t>
            </a:r>
          </a:p>
          <a:p>
            <a:pPr marL="285750" indent="-285750" algn="just">
              <a:buClr>
                <a:srgbClr val="C00000"/>
              </a:buClr>
              <a:buFont typeface="Wingdings" panose="05000000000000000000" pitchFamily="2" charset="2"/>
              <a:buChar char="§"/>
            </a:pPr>
            <a:r>
              <a:rPr lang="en-US" sz="1800" b="1" dirty="0"/>
              <a:t>Technical innovation:</a:t>
            </a:r>
            <a:r>
              <a:rPr lang="en-US" sz="1800" dirty="0"/>
              <a:t> Uses “mamba” layers to capture redundant frame information without losing detail.</a:t>
            </a:r>
          </a:p>
          <a:p>
            <a:pPr marL="285750" indent="-285750" algn="just">
              <a:buClr>
                <a:srgbClr val="C00000"/>
              </a:buClr>
              <a:buFont typeface="Wingdings" panose="05000000000000000000" pitchFamily="2" charset="2"/>
              <a:buChar char="§"/>
            </a:pPr>
            <a:r>
              <a:rPr lang="en-US" sz="1800" b="1" dirty="0"/>
              <a:t>Results:</a:t>
            </a:r>
            <a:r>
              <a:rPr lang="en-US" sz="1800" dirty="0"/>
              <a:t> Outperforms models like GPT-4o and Qwen2-VL in benchmarks like </a:t>
            </a:r>
            <a:r>
              <a:rPr lang="en-US" sz="1800" dirty="0" err="1"/>
              <a:t>MVBench</a:t>
            </a:r>
            <a:r>
              <a:rPr lang="en-US" sz="1800" dirty="0"/>
              <a:t> and MLVU.</a:t>
            </a:r>
          </a:p>
          <a:p>
            <a:pPr marL="285750" indent="-285750" algn="just">
              <a:buClr>
                <a:srgbClr val="C00000"/>
              </a:buClr>
              <a:buFont typeface="Wingdings" panose="05000000000000000000" pitchFamily="2" charset="2"/>
              <a:buChar char="§"/>
            </a:pPr>
            <a:r>
              <a:rPr lang="en-US" sz="1800" b="1" dirty="0"/>
              <a:t>Speed:</a:t>
            </a:r>
            <a:r>
              <a:rPr lang="en-US" sz="1800" dirty="0"/>
              <a:t> 3x faster than traditional systems with better performance.</a:t>
            </a:r>
            <a:endParaRPr lang="en-US" sz="1800" dirty="0">
              <a:latin typeface="+mn-lt"/>
            </a:endParaRPr>
          </a:p>
        </p:txBody>
      </p:sp>
      <p:sp>
        <p:nvSpPr>
          <p:cNvPr id="4" name="CuadroTexto 3">
            <a:extLst>
              <a:ext uri="{FF2B5EF4-FFF2-40B4-BE49-F238E27FC236}">
                <a16:creationId xmlns:a16="http://schemas.microsoft.com/office/drawing/2014/main" id="{D4622105-CF7D-BA1A-68ED-7FEA1D86F2D8}"/>
              </a:ext>
            </a:extLst>
          </p:cNvPr>
          <p:cNvSpPr txBox="1"/>
          <p:nvPr/>
        </p:nvSpPr>
        <p:spPr>
          <a:xfrm>
            <a:off x="439259" y="5315748"/>
            <a:ext cx="6070398" cy="923330"/>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 significant step toward more efficient multimodal models, applicable to surveillance, education, media, and beyond.</a:t>
            </a:r>
            <a:endParaRPr lang="es-ES" dirty="0">
              <a:solidFill>
                <a:schemeClr val="bg1"/>
              </a:solidFill>
              <a:latin typeface="Santander Text" panose="020B0504020201020104" pitchFamily="34" charset="0"/>
            </a:endParaRPr>
          </a:p>
        </p:txBody>
      </p:sp>
      <p:sp>
        <p:nvSpPr>
          <p:cNvPr id="19" name="CuadroTexto 18">
            <a:extLst>
              <a:ext uri="{FF2B5EF4-FFF2-40B4-BE49-F238E27FC236}">
                <a16:creationId xmlns:a16="http://schemas.microsoft.com/office/drawing/2014/main" id="{99F8D1DC-4042-9C1A-1053-80D00B619010}"/>
              </a:ext>
            </a:extLst>
          </p:cNvPr>
          <p:cNvSpPr txBox="1"/>
          <p:nvPr/>
        </p:nvSpPr>
        <p:spPr>
          <a:xfrm>
            <a:off x="6975910" y="5084915"/>
            <a:ext cx="4641783" cy="1169551"/>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2503.04130] Token-</a:t>
            </a:r>
            <a:r>
              <a:rPr lang="es-ES" sz="1400" dirty="0" err="1">
                <a:hlinkClick r:id="rId3"/>
              </a:rPr>
              <a:t>Efficient</a:t>
            </a:r>
            <a:r>
              <a:rPr lang="es-ES" sz="1400" dirty="0">
                <a:hlinkClick r:id="rId3"/>
              </a:rPr>
              <a:t> Long Video </a:t>
            </a:r>
            <a:r>
              <a:rPr lang="es-ES" sz="1400" dirty="0" err="1">
                <a:hlinkClick r:id="rId3"/>
              </a:rPr>
              <a:t>Understanding</a:t>
            </a:r>
            <a:r>
              <a:rPr lang="es-ES" sz="1400" dirty="0">
                <a:hlinkClick r:id="rId3"/>
              </a:rPr>
              <a:t> </a:t>
            </a:r>
            <a:r>
              <a:rPr lang="es-ES" sz="1400" dirty="0" err="1">
                <a:hlinkClick r:id="rId3"/>
              </a:rPr>
              <a:t>for</a:t>
            </a:r>
            <a:r>
              <a:rPr lang="es-ES" sz="1400" dirty="0">
                <a:hlinkClick r:id="rId3"/>
              </a:rPr>
              <a:t> Multimodal </a:t>
            </a:r>
            <a:r>
              <a:rPr lang="es-ES" sz="1400" dirty="0" err="1">
                <a:hlinkClick r:id="rId3"/>
              </a:rPr>
              <a:t>LLMs</a:t>
            </a:r>
            <a:endParaRPr lang="es-ES" sz="1400" dirty="0"/>
          </a:p>
          <a:p>
            <a:pPr marL="285750" indent="-285750">
              <a:buFont typeface="Wingdings" panose="05000000000000000000" pitchFamily="2" charset="2"/>
              <a:buChar char="Ø"/>
            </a:pPr>
            <a:endParaRPr lang="es-ES" sz="1400" dirty="0"/>
          </a:p>
        </p:txBody>
      </p:sp>
      <p:pic>
        <p:nvPicPr>
          <p:cNvPr id="21" name="Imagen 20">
            <a:extLst>
              <a:ext uri="{FF2B5EF4-FFF2-40B4-BE49-F238E27FC236}">
                <a16:creationId xmlns:a16="http://schemas.microsoft.com/office/drawing/2014/main" id="{13B8B919-1D94-38FB-7CD5-F1BAF709952E}"/>
              </a:ext>
            </a:extLst>
          </p:cNvPr>
          <p:cNvPicPr>
            <a:picLocks noChangeAspect="1"/>
          </p:cNvPicPr>
          <p:nvPr/>
        </p:nvPicPr>
        <p:blipFill>
          <a:blip r:embed="rId4"/>
          <a:stretch>
            <a:fillRect/>
          </a:stretch>
        </p:blipFill>
        <p:spPr>
          <a:xfrm>
            <a:off x="6790378" y="2114629"/>
            <a:ext cx="5012846" cy="1716298"/>
          </a:xfrm>
          <a:prstGeom prst="rect">
            <a:avLst/>
          </a:prstGeom>
        </p:spPr>
      </p:pic>
    </p:spTree>
    <p:extLst>
      <p:ext uri="{BB962C8B-B14F-4D97-AF65-F5344CB8AC3E}">
        <p14:creationId xmlns:p14="http://schemas.microsoft.com/office/powerpoint/2010/main" val="2425737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F1FB6-8F12-A608-077D-C521082BE7A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A80D32E-D9E2-EBF1-B0F9-4190918EEB7F}"/>
              </a:ext>
            </a:extLst>
          </p:cNvPr>
          <p:cNvSpPr>
            <a:spLocks noGrp="1"/>
          </p:cNvSpPr>
          <p:nvPr>
            <p:ph type="ctrTitle"/>
          </p:nvPr>
        </p:nvSpPr>
        <p:spPr>
          <a:xfrm>
            <a:off x="439259" y="939173"/>
            <a:ext cx="11309829" cy="740981"/>
          </a:xfrm>
        </p:spPr>
        <p:txBody>
          <a:bodyPr/>
          <a:lstStyle/>
          <a:p>
            <a:pPr algn="just"/>
            <a:r>
              <a:rPr lang="en-US" dirty="0"/>
              <a:t>2.3) Recent updates in AI - Benchmarking Reasoning Models: Rising Costs</a:t>
            </a:r>
          </a:p>
        </p:txBody>
      </p:sp>
      <p:sp>
        <p:nvSpPr>
          <p:cNvPr id="5" name="Marcador de texto 4">
            <a:extLst>
              <a:ext uri="{FF2B5EF4-FFF2-40B4-BE49-F238E27FC236}">
                <a16:creationId xmlns:a16="http://schemas.microsoft.com/office/drawing/2014/main" id="{8FFE0C7C-8905-87EB-961B-08C43712579F}"/>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Artificial Analysis </a:t>
            </a:r>
            <a:r>
              <a:rPr lang="en-US" sz="1800" dirty="0">
                <a:latin typeface="+mn-lt"/>
              </a:rPr>
              <a:t>lab published data on the rising cost of evaluating reasoning-capable models—crucial for startups and research centers.</a:t>
            </a:r>
          </a:p>
          <a:p>
            <a:pPr marL="285750" indent="-285750" algn="just">
              <a:buClr>
                <a:srgbClr val="C00000"/>
              </a:buClr>
              <a:buFont typeface="Wingdings" panose="05000000000000000000" pitchFamily="2" charset="2"/>
              <a:buChar char="§"/>
            </a:pPr>
            <a:r>
              <a:rPr lang="en-US" sz="1800" b="1" dirty="0"/>
              <a:t>Rising costs:</a:t>
            </a:r>
            <a:r>
              <a:rPr lang="en-US" sz="1800" dirty="0"/>
              <a:t> Evaluating models like OpenAI o1 can exceed $2,700, versus $100–$200 for simpler models.</a:t>
            </a:r>
          </a:p>
          <a:p>
            <a:pPr marL="285750" indent="-285750" algn="just">
              <a:buClr>
                <a:srgbClr val="C00000"/>
              </a:buClr>
              <a:buFont typeface="Wingdings" panose="05000000000000000000" pitchFamily="2" charset="2"/>
              <a:buChar char="§"/>
            </a:pPr>
            <a:r>
              <a:rPr lang="en-US" sz="1800" b="1" dirty="0"/>
              <a:t>Reason:</a:t>
            </a:r>
            <a:r>
              <a:rPr lang="en-US" sz="1800" dirty="0"/>
              <a:t> Reasoning models generate more tokens and require more inference steps.</a:t>
            </a:r>
          </a:p>
          <a:p>
            <a:pPr marL="285750" indent="-285750" algn="just">
              <a:buClr>
                <a:srgbClr val="C00000"/>
              </a:buClr>
              <a:buFont typeface="Wingdings" panose="05000000000000000000" pitchFamily="2" charset="2"/>
              <a:buChar char="§"/>
            </a:pPr>
            <a:r>
              <a:rPr lang="en-US" sz="1800" b="1" dirty="0"/>
              <a:t>Trend:</a:t>
            </a:r>
            <a:r>
              <a:rPr lang="en-US" sz="1800" dirty="0"/>
              <a:t> As models and tasks grow in complexity, independent benchmarking becomes increasingly expensive and critical.</a:t>
            </a:r>
            <a:endParaRPr lang="en-US" sz="1800" dirty="0">
              <a:latin typeface="+mn-lt"/>
            </a:endParaRPr>
          </a:p>
        </p:txBody>
      </p:sp>
      <p:sp>
        <p:nvSpPr>
          <p:cNvPr id="7" name="CuadroTexto 6">
            <a:extLst>
              <a:ext uri="{FF2B5EF4-FFF2-40B4-BE49-F238E27FC236}">
                <a16:creationId xmlns:a16="http://schemas.microsoft.com/office/drawing/2014/main" id="{4A617EC1-426D-C28B-A990-A67E8A01E824}"/>
              </a:ext>
            </a:extLst>
          </p:cNvPr>
          <p:cNvSpPr txBox="1"/>
          <p:nvPr/>
        </p:nvSpPr>
        <p:spPr>
          <a:xfrm>
            <a:off x="439259" y="4980468"/>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Transparent performance metrics are becoming costlier. Without open and independent evaluations, real comparison between models becomes harder.</a:t>
            </a:r>
            <a:endParaRPr lang="es-ES" dirty="0">
              <a:solidFill>
                <a:schemeClr val="bg1"/>
              </a:solidFill>
              <a:latin typeface="Santander Text" panose="020B0504020201020104" pitchFamily="34" charset="0"/>
            </a:endParaRPr>
          </a:p>
        </p:txBody>
      </p:sp>
      <p:pic>
        <p:nvPicPr>
          <p:cNvPr id="2051" name="Picture 3" descr="Bar chart that compares the costs to run a suite of popular benchmarks on reasoning and non-reasoning AI models.">
            <a:extLst>
              <a:ext uri="{FF2B5EF4-FFF2-40B4-BE49-F238E27FC236}">
                <a16:creationId xmlns:a16="http://schemas.microsoft.com/office/drawing/2014/main" id="{4A13B39E-0CC7-5D54-207C-F3FBDCCD200B}"/>
              </a:ext>
            </a:extLst>
          </p:cNvPr>
          <p:cNvPicPr>
            <a:picLocks noChangeAspect="1" noChangeArrowheads="1"/>
          </p:cNvPicPr>
          <p:nvPr/>
        </p:nvPicPr>
        <p:blipFill>
          <a:blip r:link="rId3">
            <a:extLst>
              <a:ext uri="{28A0092B-C50C-407E-A947-70E740481C1C}">
                <a14:useLocalDpi xmlns:a14="http://schemas.microsoft.com/office/drawing/2010/main" val="0"/>
              </a:ext>
            </a:extLst>
          </a:blip>
          <a:srcRect/>
          <a:stretch>
            <a:fillRect/>
          </a:stretch>
        </p:blipFill>
        <p:spPr bwMode="auto">
          <a:xfrm>
            <a:off x="6767249" y="1694883"/>
            <a:ext cx="4981839" cy="2806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uadroTexto 9">
            <a:extLst>
              <a:ext uri="{FF2B5EF4-FFF2-40B4-BE49-F238E27FC236}">
                <a16:creationId xmlns:a16="http://schemas.microsoft.com/office/drawing/2014/main" id="{0D577BC0-7357-8FFE-B26A-E7BCF345F251}"/>
              </a:ext>
            </a:extLst>
          </p:cNvPr>
          <p:cNvSpPr txBox="1"/>
          <p:nvPr/>
        </p:nvSpPr>
        <p:spPr>
          <a:xfrm>
            <a:off x="6975910" y="5084915"/>
            <a:ext cx="4641783" cy="1169551"/>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n-US" sz="1400" dirty="0">
                <a:hlinkClick r:id="rId4"/>
              </a:rPr>
              <a:t>The rise of AI 'reasoning' models is making benchmarking more expensive | TechCrunch</a:t>
            </a:r>
            <a:endParaRPr lang="es-ES" sz="1400" dirty="0"/>
          </a:p>
          <a:p>
            <a:pPr marL="285750" indent="-285750">
              <a:buFont typeface="Wingdings" panose="05000000000000000000" pitchFamily="2" charset="2"/>
              <a:buChar char="Ø"/>
            </a:pPr>
            <a:endParaRPr lang="es-ES" sz="1400" dirty="0"/>
          </a:p>
        </p:txBody>
      </p:sp>
    </p:spTree>
    <p:extLst>
      <p:ext uri="{BB962C8B-B14F-4D97-AF65-F5344CB8AC3E}">
        <p14:creationId xmlns:p14="http://schemas.microsoft.com/office/powerpoint/2010/main" val="2876304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C088A-4367-410C-ACAE-5843B285089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43E28A7-BC6E-4545-262F-6F8575D2DDFE}"/>
              </a:ext>
            </a:extLst>
          </p:cNvPr>
          <p:cNvSpPr>
            <a:spLocks noGrp="1"/>
          </p:cNvSpPr>
          <p:nvPr>
            <p:ph type="ctrTitle"/>
          </p:nvPr>
        </p:nvSpPr>
        <p:spPr>
          <a:xfrm>
            <a:off x="439259" y="939173"/>
            <a:ext cx="11309829" cy="740981"/>
          </a:xfrm>
        </p:spPr>
        <p:txBody>
          <a:bodyPr/>
          <a:lstStyle/>
          <a:p>
            <a:pPr algn="just"/>
            <a:r>
              <a:rPr lang="en-US" dirty="0"/>
              <a:t>2.4) Recent updates in AI - </a:t>
            </a:r>
            <a:r>
              <a:rPr lang="fr-FR" dirty="0"/>
              <a:t>FLUX.1 </a:t>
            </a:r>
            <a:r>
              <a:rPr lang="fr-FR" dirty="0" err="1"/>
              <a:t>Kontext</a:t>
            </a:r>
            <a:r>
              <a:rPr lang="fr-FR" dirty="0"/>
              <a:t>: Consistent Image </a:t>
            </a:r>
            <a:r>
              <a:rPr lang="fr-FR" dirty="0" err="1"/>
              <a:t>Generation</a:t>
            </a:r>
            <a:endParaRPr lang="en-US" dirty="0"/>
          </a:p>
        </p:txBody>
      </p:sp>
      <p:sp>
        <p:nvSpPr>
          <p:cNvPr id="3" name="Marcador de texto 4">
            <a:extLst>
              <a:ext uri="{FF2B5EF4-FFF2-40B4-BE49-F238E27FC236}">
                <a16:creationId xmlns:a16="http://schemas.microsoft.com/office/drawing/2014/main" id="{B97B8283-9D7A-AD36-2611-8BD5C55AB169}"/>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Black Forest Labs </a:t>
            </a:r>
            <a:r>
              <a:rPr lang="en-US" sz="1800" dirty="0">
                <a:latin typeface="+mn-lt"/>
              </a:rPr>
              <a:t>has launched a new family of text-to-image models that excel at maintaining character consistency across images and allowing detailed edits.</a:t>
            </a:r>
          </a:p>
          <a:p>
            <a:pPr marL="285750" indent="-285750" algn="just">
              <a:buClr>
                <a:srgbClr val="C00000"/>
              </a:buClr>
              <a:buFont typeface="Wingdings" panose="05000000000000000000" pitchFamily="2" charset="2"/>
              <a:buChar char="§"/>
            </a:pPr>
            <a:r>
              <a:rPr lang="en-US" sz="1800" b="1" dirty="0"/>
              <a:t>Models:</a:t>
            </a:r>
            <a:r>
              <a:rPr lang="en-US" sz="1800" dirty="0"/>
              <a:t> FLUX.1 </a:t>
            </a:r>
            <a:r>
              <a:rPr lang="en-US" sz="1800" dirty="0" err="1"/>
              <a:t>Kontext</a:t>
            </a:r>
            <a:r>
              <a:rPr lang="en-US" sz="1800" dirty="0"/>
              <a:t> max, pro, and dev (the latter will have open weights).</a:t>
            </a:r>
          </a:p>
          <a:p>
            <a:pPr marL="285750" indent="-285750" algn="just">
              <a:buClr>
                <a:srgbClr val="C00000"/>
              </a:buClr>
              <a:buFont typeface="Wingdings" panose="05000000000000000000" pitchFamily="2" charset="2"/>
              <a:buChar char="§"/>
            </a:pPr>
            <a:r>
              <a:rPr lang="en-US" sz="1800" b="1" dirty="0"/>
              <a:t>New Features:</a:t>
            </a:r>
            <a:r>
              <a:rPr lang="en-US" sz="1800" dirty="0"/>
              <a:t> Local and global image modifications, style and character consistency.</a:t>
            </a:r>
          </a:p>
          <a:p>
            <a:pPr marL="285750" indent="-285750" algn="just">
              <a:buClr>
                <a:srgbClr val="C00000"/>
              </a:buClr>
              <a:buFont typeface="Wingdings" panose="05000000000000000000" pitchFamily="2" charset="2"/>
              <a:buChar char="§"/>
            </a:pPr>
            <a:r>
              <a:rPr lang="en-US" sz="1800" b="1" dirty="0"/>
              <a:t>Performance:</a:t>
            </a:r>
            <a:r>
              <a:rPr lang="en-US" sz="1800" dirty="0"/>
              <a:t> Outperforms models like OpenAI’s GPT-Image 1 and Google’s Gemini 2.0 in proprietary benchmarks.</a:t>
            </a:r>
          </a:p>
          <a:p>
            <a:pPr marL="285750" indent="-285750" algn="just">
              <a:buClr>
                <a:srgbClr val="C00000"/>
              </a:buClr>
              <a:buFont typeface="Wingdings" panose="05000000000000000000" pitchFamily="2" charset="2"/>
              <a:buChar char="§"/>
            </a:pPr>
            <a:r>
              <a:rPr lang="en-US" sz="1800" b="1" dirty="0"/>
              <a:t>Implications:</a:t>
            </a:r>
            <a:r>
              <a:rPr lang="en-US" sz="1800" dirty="0"/>
              <a:t> Enhances creative and design applications by enabling coherent visual narratives.</a:t>
            </a:r>
            <a:endParaRPr lang="en-US" sz="1800" dirty="0">
              <a:latin typeface="+mn-lt"/>
            </a:endParaRPr>
          </a:p>
        </p:txBody>
      </p:sp>
      <p:sp>
        <p:nvSpPr>
          <p:cNvPr id="4" name="CuadroTexto 3">
            <a:extLst>
              <a:ext uri="{FF2B5EF4-FFF2-40B4-BE49-F238E27FC236}">
                <a16:creationId xmlns:a16="http://schemas.microsoft.com/office/drawing/2014/main" id="{2D7BF6AD-8429-553E-2598-4813A186767E}"/>
              </a:ext>
            </a:extLst>
          </p:cNvPr>
          <p:cNvSpPr txBox="1"/>
          <p:nvPr/>
        </p:nvSpPr>
        <p:spPr>
          <a:xfrm>
            <a:off x="439259" y="5427508"/>
            <a:ext cx="6070398" cy="923330"/>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dvances in precise editing and visual consistency reinforce AI’s role in professional creative tools and content generation.</a:t>
            </a:r>
            <a:endParaRPr lang="es-ES" dirty="0">
              <a:solidFill>
                <a:schemeClr val="bg1"/>
              </a:solidFill>
              <a:latin typeface="Santander Text" panose="020B0504020201020104" pitchFamily="34" charset="0"/>
            </a:endParaRPr>
          </a:p>
        </p:txBody>
      </p:sp>
      <p:sp>
        <p:nvSpPr>
          <p:cNvPr id="5" name="CuadroTexto 4">
            <a:extLst>
              <a:ext uri="{FF2B5EF4-FFF2-40B4-BE49-F238E27FC236}">
                <a16:creationId xmlns:a16="http://schemas.microsoft.com/office/drawing/2014/main" id="{2763B72E-0483-5AC0-EAE7-9E6A2D203F62}"/>
              </a:ext>
            </a:extLst>
          </p:cNvPr>
          <p:cNvSpPr txBox="1"/>
          <p:nvPr/>
        </p:nvSpPr>
        <p:spPr>
          <a:xfrm>
            <a:off x="6975910" y="5379555"/>
            <a:ext cx="4641783" cy="815608"/>
          </a:xfrm>
          <a:prstGeom prst="rect">
            <a:avLst/>
          </a:prstGeom>
          <a:noFill/>
        </p:spPr>
        <p:txBody>
          <a:bodyPr wrap="square">
            <a:spAutoFit/>
          </a:bodyPr>
          <a:lstStyle/>
          <a:p>
            <a:r>
              <a:rPr lang="en-US" sz="1400" b="1" dirty="0">
                <a:latin typeface="Santander Text" panose="020B0504020201020104" pitchFamily="34" charset="0"/>
              </a:rPr>
              <a:t>Links:</a:t>
            </a:r>
            <a:endParaRPr lang="en-US" sz="1400" b="1" dirty="0">
              <a:latin typeface="Santander Text" panose="020B0504020201020104" pitchFamily="34" charset="0"/>
              <a:hlinkClick r:id="rId3">
                <a:extLst>
                  <a:ext uri="{A12FA001-AC4F-418D-AE19-62706E023703}">
                    <ahyp:hlinkClr xmlns:ahyp="http://schemas.microsoft.com/office/drawing/2018/hyperlinkcolor" val="tx"/>
                  </a:ext>
                </a:extLst>
              </a:hlinkClick>
            </a:endParaRPr>
          </a:p>
          <a:p>
            <a:pPr marL="285750" indent="-285750">
              <a:buClr>
                <a:srgbClr val="005471"/>
              </a:buClr>
              <a:buFont typeface="Wingdings" panose="05000000000000000000" pitchFamily="2" charset="2"/>
              <a:buChar char="Ø"/>
            </a:pPr>
            <a:r>
              <a:rPr lang="es-ES" sz="1400" dirty="0">
                <a:hlinkClick r:id="rId4"/>
              </a:rPr>
              <a:t>Black Forest </a:t>
            </a:r>
            <a:r>
              <a:rPr lang="es-ES" sz="1400" dirty="0" err="1">
                <a:hlinkClick r:id="rId4"/>
              </a:rPr>
              <a:t>Labs</a:t>
            </a:r>
            <a:r>
              <a:rPr lang="es-ES" sz="1400" dirty="0">
                <a:hlinkClick r:id="rId4"/>
              </a:rPr>
              <a:t> - </a:t>
            </a:r>
            <a:r>
              <a:rPr lang="es-ES" sz="1400" dirty="0" err="1">
                <a:hlinkClick r:id="rId4"/>
              </a:rPr>
              <a:t>Frontier</a:t>
            </a:r>
            <a:r>
              <a:rPr lang="es-ES" sz="1400" dirty="0">
                <a:hlinkClick r:id="rId4"/>
              </a:rPr>
              <a:t> AI </a:t>
            </a:r>
            <a:r>
              <a:rPr lang="es-ES" sz="1400" dirty="0" err="1">
                <a:hlinkClick r:id="rId4"/>
              </a:rPr>
              <a:t>Lab</a:t>
            </a:r>
            <a:endParaRPr lang="es-ES" sz="1400" dirty="0"/>
          </a:p>
          <a:p>
            <a:pPr marL="285750" indent="-285750">
              <a:spcBef>
                <a:spcPts val="600"/>
              </a:spcBef>
              <a:spcAft>
                <a:spcPts val="600"/>
              </a:spcAft>
              <a:buClr>
                <a:srgbClr val="005471"/>
              </a:buClr>
              <a:buFont typeface="Wingdings" panose="05000000000000000000" pitchFamily="2" charset="2"/>
              <a:buChar char="Ø"/>
            </a:pPr>
            <a:r>
              <a:rPr lang="es-ES" sz="1400" dirty="0">
                <a:hlinkClick r:id="rId5"/>
              </a:rPr>
              <a:t>880b072208997108f87e5d2729d8a8be481310b5.pdf</a:t>
            </a:r>
            <a:endParaRPr lang="es-ES" sz="1400" dirty="0"/>
          </a:p>
        </p:txBody>
      </p:sp>
      <p:pic>
        <p:nvPicPr>
          <p:cNvPr id="8" name="Imagen 7">
            <a:extLst>
              <a:ext uri="{FF2B5EF4-FFF2-40B4-BE49-F238E27FC236}">
                <a16:creationId xmlns:a16="http://schemas.microsoft.com/office/drawing/2014/main" id="{60307FD9-016E-5123-5C09-52471FFDBA27}"/>
              </a:ext>
            </a:extLst>
          </p:cNvPr>
          <p:cNvPicPr>
            <a:picLocks noChangeAspect="1"/>
          </p:cNvPicPr>
          <p:nvPr/>
        </p:nvPicPr>
        <p:blipFill>
          <a:blip r:embed="rId6"/>
          <a:stretch>
            <a:fillRect/>
          </a:stretch>
        </p:blipFill>
        <p:spPr>
          <a:xfrm>
            <a:off x="6975910" y="1861902"/>
            <a:ext cx="4563927" cy="3134195"/>
          </a:xfrm>
          <a:prstGeom prst="rect">
            <a:avLst/>
          </a:prstGeom>
        </p:spPr>
      </p:pic>
    </p:spTree>
    <p:extLst>
      <p:ext uri="{BB962C8B-B14F-4D97-AF65-F5344CB8AC3E}">
        <p14:creationId xmlns:p14="http://schemas.microsoft.com/office/powerpoint/2010/main" val="1567361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_Cover Pages, Cover Pages, Impact Phrases">
  <a:themeElements>
    <a:clrScheme name="SAM COLORES DEFINITIVOS">
      <a:dk1>
        <a:srgbClr val="000715"/>
      </a:dk1>
      <a:lt1>
        <a:srgbClr val="FFFFFF"/>
      </a:lt1>
      <a:dk2>
        <a:srgbClr val="E8E8E8"/>
      </a:dk2>
      <a:lt2>
        <a:srgbClr val="AEAEAE"/>
      </a:lt2>
      <a:accent1>
        <a:srgbClr val="002630"/>
      </a:accent1>
      <a:accent2>
        <a:srgbClr val="005471"/>
      </a:accent2>
      <a:accent3>
        <a:srgbClr val="EC0000"/>
      </a:accent3>
      <a:accent4>
        <a:srgbClr val="E8E8E8"/>
      </a:accent4>
      <a:accent5>
        <a:srgbClr val="9A004F"/>
      </a:accent5>
      <a:accent6>
        <a:srgbClr val="D0B047"/>
      </a:accent6>
      <a:hlink>
        <a:srgbClr val="005471"/>
      </a:hlink>
      <a:folHlink>
        <a:srgbClr val="D0D0D0"/>
      </a:folHlink>
    </a:clrScheme>
    <a:fontScheme name="SA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M Template">
  <a:themeElements>
    <a:clrScheme name="SAM COLORES DEFINITIVOS">
      <a:dk1>
        <a:srgbClr val="000715"/>
      </a:dk1>
      <a:lt1>
        <a:srgbClr val="FFFFFF"/>
      </a:lt1>
      <a:dk2>
        <a:srgbClr val="E8E8E8"/>
      </a:dk2>
      <a:lt2>
        <a:srgbClr val="AEAEAE"/>
      </a:lt2>
      <a:accent1>
        <a:srgbClr val="002630"/>
      </a:accent1>
      <a:accent2>
        <a:srgbClr val="005471"/>
      </a:accent2>
      <a:accent3>
        <a:srgbClr val="EC0000"/>
      </a:accent3>
      <a:accent4>
        <a:srgbClr val="E8E8E8"/>
      </a:accent4>
      <a:accent5>
        <a:srgbClr val="9A004F"/>
      </a:accent5>
      <a:accent6>
        <a:srgbClr val="D0B047"/>
      </a:accent6>
      <a:hlink>
        <a:srgbClr val="005471"/>
      </a:hlink>
      <a:folHlink>
        <a:srgbClr val="D0D0D0"/>
      </a:folHlink>
    </a:clrScheme>
    <a:fontScheme name="SAM_2021">
      <a:majorFont>
        <a:latin typeface="Santander Headline Light"/>
        <a:ea typeface=""/>
        <a:cs typeface=""/>
      </a:majorFont>
      <a:minorFont>
        <a:latin typeface="Santander Tex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02</Words>
  <Application>Microsoft Office PowerPoint</Application>
  <PresentationFormat>Panorámica</PresentationFormat>
  <Paragraphs>169</Paragraphs>
  <Slides>19</Slides>
  <Notes>16</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19</vt:i4>
      </vt:variant>
    </vt:vector>
  </HeadingPairs>
  <TitlesOfParts>
    <vt:vector size="29" baseType="lpstr">
      <vt:lpstr>Santander Headline</vt:lpstr>
      <vt:lpstr>Arial</vt:lpstr>
      <vt:lpstr>Calibri</vt:lpstr>
      <vt:lpstr>Courier New</vt:lpstr>
      <vt:lpstr>Santander Text</vt:lpstr>
      <vt:lpstr>Santander Text Light</vt:lpstr>
      <vt:lpstr>Wingdings</vt:lpstr>
      <vt:lpstr>SAM_Cover Pages, Cover Pages, Impact Phrases</vt:lpstr>
      <vt:lpstr>SAM Template</vt:lpstr>
      <vt:lpstr>think-cell Slide</vt:lpstr>
      <vt:lpstr>Presentación de PowerPoint</vt:lpstr>
      <vt:lpstr>Presentación de PowerPoint</vt:lpstr>
      <vt:lpstr>1) Survey (I)</vt:lpstr>
      <vt:lpstr>1) Survey (II)</vt:lpstr>
      <vt:lpstr>2) Recent updates in AI</vt:lpstr>
      <vt:lpstr>2.1) Recent updates in AI - DeepSeek-R1-0528: High-Performance Open-Source AI</vt:lpstr>
      <vt:lpstr>2.2) Recent updates in AI - STORM: Efficient Multimodal Video Understanding</vt:lpstr>
      <vt:lpstr>2.3) Recent updates in AI - Benchmarking Reasoning Models: Rising Costs</vt:lpstr>
      <vt:lpstr>2.4) Recent updates in AI - FLUX.1 Kontext: Consistent Image Generation</vt:lpstr>
      <vt:lpstr>2.5) Recent updates in AI - Duolingo: AI-Powered Expansion of Language Learning</vt:lpstr>
      <vt:lpstr>2.6) Recent updates in AI - AI Trends 2025 Report (Mary Meeker)</vt:lpstr>
      <vt:lpstr>2.7) Recent updates in AI - AI and Energy Consumption (IEA)</vt:lpstr>
      <vt:lpstr>3.1) AI agents' accuracy – Article conclusion</vt:lpstr>
      <vt:lpstr>3.1) AI agents' accuracy - Task-Dependent Accuracy</vt:lpstr>
      <vt:lpstr>3.1) AI agents' accuracy - Cost vs. Accuracy Tradeoff</vt:lpstr>
      <vt:lpstr>3.1) AI agents' accuracy - Rapid Innovation Meets Practical Limits</vt:lpstr>
      <vt:lpstr>4) Takeaways (I)</vt:lpstr>
      <vt:lpstr>4) Takeaways (I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Karina Chocano Palomino</dc:creator>
  <cp:lastModifiedBy>Munarriz Herrador Iñaki</cp:lastModifiedBy>
  <cp:revision>908</cp:revision>
  <cp:lastPrinted>2023-05-24T06:58:43Z</cp:lastPrinted>
  <dcterms:created xsi:type="dcterms:W3CDTF">2019-01-11T18:46:24Z</dcterms:created>
  <dcterms:modified xsi:type="dcterms:W3CDTF">2025-07-03T14:1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2abd79-57a9-4473-8700-c843f76a1e37_Enabled">
    <vt:lpwstr>true</vt:lpwstr>
  </property>
  <property fmtid="{D5CDD505-2E9C-101B-9397-08002B2CF9AE}" pid="3" name="MSIP_Label_0c2abd79-57a9-4473-8700-c843f76a1e37_SetDate">
    <vt:lpwstr>2023-01-18T17:54:17Z</vt:lpwstr>
  </property>
  <property fmtid="{D5CDD505-2E9C-101B-9397-08002B2CF9AE}" pid="4" name="MSIP_Label_0c2abd79-57a9-4473-8700-c843f76a1e37_Method">
    <vt:lpwstr>Privileged</vt:lpwstr>
  </property>
  <property fmtid="{D5CDD505-2E9C-101B-9397-08002B2CF9AE}" pid="5" name="MSIP_Label_0c2abd79-57a9-4473-8700-c843f76a1e37_Name">
    <vt:lpwstr>Internal</vt:lpwstr>
  </property>
  <property fmtid="{D5CDD505-2E9C-101B-9397-08002B2CF9AE}" pid="6" name="MSIP_Label_0c2abd79-57a9-4473-8700-c843f76a1e37_SiteId">
    <vt:lpwstr>35595a02-4d6d-44ac-99e1-f9ab4cd872db</vt:lpwstr>
  </property>
  <property fmtid="{D5CDD505-2E9C-101B-9397-08002B2CF9AE}" pid="7" name="MSIP_Label_0c2abd79-57a9-4473-8700-c843f76a1e37_ActionId">
    <vt:lpwstr>f7c9b8b4-d010-4586-8f12-2df85b2e7d54</vt:lpwstr>
  </property>
  <property fmtid="{D5CDD505-2E9C-101B-9397-08002B2CF9AE}" pid="8" name="MSIP_Label_0c2abd79-57a9-4473-8700-c843f76a1e37_ContentBits">
    <vt:lpwstr>0</vt:lpwstr>
  </property>
</Properties>
</file>